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av" ContentType="audio/wav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30" r:id="rId4"/>
    <p:sldMasterId id="2147484022" r:id="rId5"/>
  </p:sldMasterIdLst>
  <p:notesMasterIdLst>
    <p:notesMasterId r:id="rId8"/>
  </p:notesMasterIdLst>
  <p:handoutMasterIdLst>
    <p:handoutMasterId r:id="rId9"/>
  </p:handoutMasterIdLst>
  <p:sldIdLst>
    <p:sldId id="608" r:id="rId6"/>
    <p:sldId id="582" r:id="rId7"/>
  </p:sldIdLst>
  <p:sldSz cx="12192000" cy="6858000"/>
  <p:notesSz cx="7099300" cy="10234613"/>
  <p:defaultTextStyle>
    <a:defPPr>
      <a:defRPr lang="zh-TW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B47C0"/>
    <a:srgbClr val="0000CC"/>
    <a:srgbClr val="1D80C7"/>
    <a:srgbClr val="A162D0"/>
    <a:srgbClr val="CC9900"/>
    <a:srgbClr val="FFFFE1"/>
    <a:srgbClr val="F183D4"/>
    <a:srgbClr val="DCB9F9"/>
    <a:srgbClr val="B1130F"/>
    <a:srgbClr val="E246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45805A8-61C5-4DF4-B60F-0E7C391A3212}" v="9" dt="2022-02-16T04:09:10.4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中等深淺樣式 2 - 輔色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中等深淺樣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中等深淺樣式 2 - 輔色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佈景主題樣式 1 - 輔色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09" autoAdjust="0"/>
    <p:restoredTop sz="98172" autoAdjust="0"/>
  </p:normalViewPr>
  <p:slideViewPr>
    <p:cSldViewPr>
      <p:cViewPr varScale="1">
        <p:scale>
          <a:sx n="72" d="100"/>
          <a:sy n="72" d="100"/>
        </p:scale>
        <p:origin x="532" y="52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-2016" y="-84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ull Zhao/WZS/Wistron" userId="2865738d-0d34-4c33-b157-7e4630f627d3" providerId="ADAL" clId="{845805A8-61C5-4DF4-B60F-0E7C391A3212}"/>
    <pc:docChg chg="custSel addSld delSld modSld addMainMaster">
      <pc:chgData name="Null Zhao/WZS/Wistron" userId="2865738d-0d34-4c33-b157-7e4630f627d3" providerId="ADAL" clId="{845805A8-61C5-4DF4-B60F-0E7C391A3212}" dt="2022-02-16T04:09:34.868" v="52" actId="478"/>
      <pc:docMkLst>
        <pc:docMk/>
      </pc:docMkLst>
      <pc:sldChg chg="del">
        <pc:chgData name="Null Zhao/WZS/Wistron" userId="2865738d-0d34-4c33-b157-7e4630f627d3" providerId="ADAL" clId="{845805A8-61C5-4DF4-B60F-0E7C391A3212}" dt="2022-02-16T04:01:17.831" v="0" actId="47"/>
        <pc:sldMkLst>
          <pc:docMk/>
          <pc:sldMk cId="0" sldId="570"/>
        </pc:sldMkLst>
      </pc:sldChg>
      <pc:sldChg chg="new del">
        <pc:chgData name="Null Zhao/WZS/Wistron" userId="2865738d-0d34-4c33-b157-7e4630f627d3" providerId="ADAL" clId="{845805A8-61C5-4DF4-B60F-0E7C391A3212}" dt="2022-02-16T04:01:52.765" v="4" actId="47"/>
        <pc:sldMkLst>
          <pc:docMk/>
          <pc:sldMk cId="2945629758" sldId="609"/>
        </pc:sldMkLst>
      </pc:sldChg>
      <pc:sldChg chg="addSp delSp modSp add mod">
        <pc:chgData name="Null Zhao/WZS/Wistron" userId="2865738d-0d34-4c33-b157-7e4630f627d3" providerId="ADAL" clId="{845805A8-61C5-4DF4-B60F-0E7C391A3212}" dt="2022-02-16T04:09:34.868" v="52" actId="478"/>
        <pc:sldMkLst>
          <pc:docMk/>
          <pc:sldMk cId="2726493804" sldId="610"/>
        </pc:sldMkLst>
        <pc:spChg chg="add del mod">
          <ac:chgData name="Null Zhao/WZS/Wistron" userId="2865738d-0d34-4c33-b157-7e4630f627d3" providerId="ADAL" clId="{845805A8-61C5-4DF4-B60F-0E7C391A3212}" dt="2022-02-16T04:02:25.922" v="8" actId="478"/>
          <ac:spMkLst>
            <pc:docMk/>
            <pc:sldMk cId="2726493804" sldId="610"/>
            <ac:spMk id="2" creationId="{DAA3E8AB-D2EB-4D92-AA76-49F203160B0D}"/>
          </ac:spMkLst>
        </pc:spChg>
        <pc:spChg chg="add mod">
          <ac:chgData name="Null Zhao/WZS/Wistron" userId="2865738d-0d34-4c33-b157-7e4630f627d3" providerId="ADAL" clId="{845805A8-61C5-4DF4-B60F-0E7C391A3212}" dt="2022-02-16T04:05:24.150" v="16" actId="1076"/>
          <ac:spMkLst>
            <pc:docMk/>
            <pc:sldMk cId="2726493804" sldId="610"/>
            <ac:spMk id="4" creationId="{AF206B89-1650-49A5-A257-4700903C6E08}"/>
          </ac:spMkLst>
        </pc:spChg>
        <pc:spChg chg="add mod">
          <ac:chgData name="Null Zhao/WZS/Wistron" userId="2865738d-0d34-4c33-b157-7e4630f627d3" providerId="ADAL" clId="{845805A8-61C5-4DF4-B60F-0E7C391A3212}" dt="2022-02-16T04:08:02.504" v="33" actId="207"/>
          <ac:spMkLst>
            <pc:docMk/>
            <pc:sldMk cId="2726493804" sldId="610"/>
            <ac:spMk id="5" creationId="{CB0BF3FD-8BCB-4375-84DA-06A4D1DF5864}"/>
          </ac:spMkLst>
        </pc:spChg>
        <pc:spChg chg="add mod">
          <ac:chgData name="Null Zhao/WZS/Wistron" userId="2865738d-0d34-4c33-b157-7e4630f627d3" providerId="ADAL" clId="{845805A8-61C5-4DF4-B60F-0E7C391A3212}" dt="2022-02-16T04:05:55.474" v="21" actId="14100"/>
          <ac:spMkLst>
            <pc:docMk/>
            <pc:sldMk cId="2726493804" sldId="610"/>
            <ac:spMk id="60" creationId="{F987BE68-EB9A-4A43-80E7-119807BA9CB7}"/>
          </ac:spMkLst>
        </pc:spChg>
        <pc:spChg chg="add mod">
          <ac:chgData name="Null Zhao/WZS/Wistron" userId="2865738d-0d34-4c33-b157-7e4630f627d3" providerId="ADAL" clId="{845805A8-61C5-4DF4-B60F-0E7C391A3212}" dt="2022-02-16T04:08:17.688" v="41"/>
          <ac:spMkLst>
            <pc:docMk/>
            <pc:sldMk cId="2726493804" sldId="610"/>
            <ac:spMk id="65" creationId="{081DF99F-5B25-4E56-A936-33B08A1A7470}"/>
          </ac:spMkLst>
        </pc:spChg>
        <pc:spChg chg="add del mod">
          <ac:chgData name="Null Zhao/WZS/Wistron" userId="2865738d-0d34-4c33-b157-7e4630f627d3" providerId="ADAL" clId="{845805A8-61C5-4DF4-B60F-0E7C391A3212}" dt="2022-02-16T04:09:34.868" v="52" actId="478"/>
          <ac:spMkLst>
            <pc:docMk/>
            <pc:sldMk cId="2726493804" sldId="610"/>
            <ac:spMk id="78" creationId="{827BC8B6-0CC6-458A-80D2-BFA41FC592D9}"/>
          </ac:spMkLst>
        </pc:spChg>
      </pc:sldChg>
      <pc:sldMasterChg chg="add addSldLayout">
        <pc:chgData name="Null Zhao/WZS/Wistron" userId="2865738d-0d34-4c33-b157-7e4630f627d3" providerId="ADAL" clId="{845805A8-61C5-4DF4-B60F-0E7C391A3212}" dt="2022-02-16T04:01:47.531" v="2" actId="27028"/>
        <pc:sldMasterMkLst>
          <pc:docMk/>
          <pc:sldMasterMk cId="906976183" sldId="2147483660"/>
        </pc:sldMasterMkLst>
        <pc:sldLayoutChg chg="add">
          <pc:chgData name="Null Zhao/WZS/Wistron" userId="2865738d-0d34-4c33-b157-7e4630f627d3" providerId="ADAL" clId="{845805A8-61C5-4DF4-B60F-0E7C391A3212}" dt="2022-02-16T04:01:47.531" v="2" actId="27028"/>
          <pc:sldLayoutMkLst>
            <pc:docMk/>
            <pc:sldMasterMk cId="906976183" sldId="2147483660"/>
            <pc:sldLayoutMk cId="4159426298" sldId="2147484069"/>
          </pc:sldLayoutMkLst>
        </pc:sldLayoutChg>
      </pc:sldMasterChg>
      <pc:sldMasterChg chg="delSldLayout">
        <pc:chgData name="Null Zhao/WZS/Wistron" userId="2865738d-0d34-4c33-b157-7e4630f627d3" providerId="ADAL" clId="{845805A8-61C5-4DF4-B60F-0E7C391A3212}" dt="2022-02-16T04:01:17.831" v="0" actId="47"/>
        <pc:sldMasterMkLst>
          <pc:docMk/>
          <pc:sldMasterMk cId="4139004091" sldId="2147483930"/>
        </pc:sldMasterMkLst>
        <pc:sldLayoutChg chg="del">
          <pc:chgData name="Null Zhao/WZS/Wistron" userId="2865738d-0d34-4c33-b157-7e4630f627d3" providerId="ADAL" clId="{845805A8-61C5-4DF4-B60F-0E7C391A3212}" dt="2022-02-16T04:01:17.831" v="0" actId="47"/>
          <pc:sldLayoutMkLst>
            <pc:docMk/>
            <pc:sldMasterMk cId="4139004091" sldId="2147483930"/>
            <pc:sldLayoutMk cId="53673896" sldId="214748403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71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71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AF85DFC1-A479-4D08-9122-DC0D7286DBC1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6752968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68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199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</a:p>
        </p:txBody>
      </p:sp>
      <p:sp>
        <p:nvSpPr>
          <p:cNvPr id="440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40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C064BA9D-2804-4B04-94BC-96EB66469833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88541912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8.emf"/><Relationship Id="rId5" Type="http://schemas.openxmlformats.org/officeDocument/2006/relationships/image" Target="../media/image5.jpg"/><Relationship Id="rId4" Type="http://schemas.openxmlformats.org/officeDocument/2006/relationships/image" Target="../media/image7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8.emf"/><Relationship Id="rId5" Type="http://schemas.openxmlformats.org/officeDocument/2006/relationships/image" Target="../media/image5.jpg"/><Relationship Id="rId4" Type="http://schemas.openxmlformats.org/officeDocument/2006/relationships/image" Target="../media/image7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圖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7" y="6"/>
            <a:ext cx="12189391" cy="6861905"/>
          </a:xfrm>
          <a:prstGeom prst="rect">
            <a:avLst/>
          </a:prstGeom>
        </p:spPr>
      </p:pic>
      <p:sp>
        <p:nvSpPr>
          <p:cNvPr id="30723" name="Rectangle 3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368800" y="3976302"/>
            <a:ext cx="7518400" cy="1846660"/>
          </a:xfrm>
        </p:spPr>
        <p:txBody>
          <a:bodyPr anchor="ctr"/>
          <a:lstStyle>
            <a:lvl1pPr>
              <a:defRPr sz="3733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altLang="zh-TW" dirty="0"/>
              <a:t>Present’s Name</a:t>
            </a:r>
            <a:br>
              <a:rPr lang="en-US" altLang="zh-TW" dirty="0"/>
            </a:br>
            <a:r>
              <a:rPr lang="en-US" altLang="zh-TW" dirty="0"/>
              <a:t>Present’s Title</a:t>
            </a:r>
            <a:br>
              <a:rPr lang="en-US" altLang="zh-TW" dirty="0"/>
            </a:br>
            <a:r>
              <a:rPr lang="en-US" altLang="zh-TW" dirty="0"/>
              <a:t>Date</a:t>
            </a:r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4" y="297715"/>
            <a:ext cx="1774153" cy="3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489030"/>
      </p:ext>
    </p:extLst>
  </p:cSld>
  <p:clrMapOvr>
    <a:masterClrMapping/>
  </p:clrMapOvr>
  <p:transition spd="slow">
    <p:zoom dir="in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11582405" y="6507163"/>
            <a:ext cx="488951" cy="381000"/>
          </a:xfrm>
        </p:spPr>
        <p:txBody>
          <a:bodyPr/>
          <a:lstStyle>
            <a:lvl1pPr>
              <a:defRPr/>
            </a:lvl1pPr>
          </a:lstStyle>
          <a:p>
            <a:fld id="{589CFC44-4ACE-406F-827A-0341001B0491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698166"/>
      </p:ext>
    </p:extLst>
  </p:cSld>
  <p:clrMapOvr>
    <a:masterClrMapping/>
  </p:clrMapOvr>
  <p:transition spd="slow">
    <p:zoom dir="in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9920411" y="228605"/>
            <a:ext cx="1661993" cy="5897563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1117600" y="228605"/>
            <a:ext cx="7569200" cy="5897563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11582405" y="6507163"/>
            <a:ext cx="488951" cy="381000"/>
          </a:xfrm>
        </p:spPr>
        <p:txBody>
          <a:bodyPr/>
          <a:lstStyle>
            <a:lvl1pPr>
              <a:defRPr/>
            </a:lvl1pPr>
          </a:lstStyle>
          <a:p>
            <a:fld id="{589CFC44-4ACE-406F-827A-0341001B0491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754685"/>
      </p:ext>
    </p:extLst>
  </p:cSld>
  <p:clrMapOvr>
    <a:masterClrMapping/>
  </p:clrMapOvr>
  <p:transition spd="slow">
    <p:zoom dir="in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83099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</p:spTree>
    <p:extLst>
      <p:ext uri="{BB962C8B-B14F-4D97-AF65-F5344CB8AC3E}">
        <p14:creationId xmlns:p14="http://schemas.microsoft.com/office/powerpoint/2010/main" val="175146927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5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5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4" y="2"/>
            <a:ext cx="12188401" cy="6858000"/>
          </a:xfrm>
          <a:prstGeom prst="rect">
            <a:avLst/>
          </a:prstGeom>
        </p:spPr>
      </p:pic>
      <p:grpSp>
        <p:nvGrpSpPr>
          <p:cNvPr id="2" name="Title Elements"/>
          <p:cNvGrpSpPr/>
          <p:nvPr userDrawn="1"/>
        </p:nvGrpSpPr>
        <p:grpSpPr>
          <a:xfrm>
            <a:off x="2" y="2"/>
            <a:ext cx="12187681" cy="6859620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30775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kumimoji="0" lang="en-US" sz="1400" dirty="0">
                  <a:solidFill>
                    <a:srgbClr val="000000"/>
                  </a:solidFill>
                  <a:latin typeface="Arial"/>
                  <a:ea typeface="+mn-ea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kumimoji="0" lang="en-US" sz="1400" dirty="0">
                  <a:solidFill>
                    <a:srgbClr val="000000"/>
                  </a:solidFill>
                  <a:latin typeface="Arial"/>
                  <a:ea typeface="+mn-ea"/>
                </a:rPr>
                <a:t>Date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95975"/>
              <a:ext cx="5121275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115" eaLnBrk="0" hangingPunct="0"/>
              <a:r>
                <a:rPr kumimoji="0" lang="en-US" sz="800" dirty="0">
                  <a:solidFill>
                    <a:srgbClr val="000000"/>
                  </a:solidFill>
                  <a:latin typeface="Arial"/>
                  <a:ea typeface="+mn-ea"/>
                </a:rPr>
                <a:t>CONFIDENTIAL AND PROPRIETARY</a:t>
              </a:r>
            </a:p>
            <a:p>
              <a:pPr defTabSz="821115" eaLnBrk="0" hangingPunct="0"/>
              <a:r>
                <a:rPr kumimoji="0" lang="en-US" sz="800" dirty="0">
                  <a:solidFill>
                    <a:srgbClr val="000000"/>
                  </a:solidFill>
                  <a:latin typeface="Arial"/>
                  <a:ea typeface="+mn-ea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kumimoji="0" lang="en-US" sz="1600" dirty="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kumimoji="0" lang="en-US" sz="1600" dirty="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0" lang="en-US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3" y="6574549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775" y="28052"/>
            <a:ext cx="638077" cy="478529"/>
          </a:xfrm>
          <a:prstGeom prst="rect">
            <a:avLst/>
          </a:prstGeom>
        </p:spPr>
      </p:pic>
      <p:sp>
        <p:nvSpPr>
          <p:cNvPr id="14" name="Slide Number"/>
          <p:cNvSpPr txBox="1">
            <a:spLocks/>
          </p:cNvSpPr>
          <p:nvPr userDrawn="1"/>
        </p:nvSpPr>
        <p:spPr>
          <a:xfrm>
            <a:off x="11839861" y="666443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kumimoji="0" lang="en-US" sz="1000" smtClean="0">
                <a:solidFill>
                  <a:srgbClr val="000000"/>
                </a:solidFill>
                <a:ea typeface="+mn-ea"/>
              </a:rPr>
              <a:pPr/>
              <a:t>‹#›</a:t>
            </a:fld>
            <a:endParaRPr kumimoji="0" lang="en-US" sz="1000" dirty="0">
              <a:solidFill>
                <a:srgbClr val="000000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04124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140032" y="504943"/>
            <a:ext cx="10699833" cy="298327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775" y="28052"/>
            <a:ext cx="638077" cy="47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4412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5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5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4" y="2"/>
            <a:ext cx="12188401" cy="6858000"/>
          </a:xfrm>
          <a:prstGeom prst="rect">
            <a:avLst/>
          </a:prstGeom>
        </p:spPr>
      </p:pic>
      <p:grpSp>
        <p:nvGrpSpPr>
          <p:cNvPr id="2" name="Title Elements"/>
          <p:cNvGrpSpPr/>
          <p:nvPr userDrawn="1"/>
        </p:nvGrpSpPr>
        <p:grpSpPr>
          <a:xfrm>
            <a:off x="2" y="2"/>
            <a:ext cx="12187681" cy="6859620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30775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kumimoji="0" lang="en-US" sz="1400" dirty="0">
                  <a:solidFill>
                    <a:srgbClr val="000000"/>
                  </a:solidFill>
                  <a:latin typeface="Arial"/>
                  <a:ea typeface="+mn-ea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kumimoji="0" lang="en-US" sz="1400" dirty="0">
                  <a:solidFill>
                    <a:srgbClr val="000000"/>
                  </a:solidFill>
                  <a:latin typeface="Arial"/>
                  <a:ea typeface="+mn-ea"/>
                </a:rPr>
                <a:t>Date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95975"/>
              <a:ext cx="5121275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115" eaLnBrk="0" hangingPunct="0"/>
              <a:r>
                <a:rPr kumimoji="0" lang="en-US" sz="800" dirty="0">
                  <a:solidFill>
                    <a:srgbClr val="000000"/>
                  </a:solidFill>
                  <a:latin typeface="Arial"/>
                  <a:ea typeface="+mn-ea"/>
                </a:rPr>
                <a:t>CONFIDENTIAL AND PROPRIETARY</a:t>
              </a:r>
            </a:p>
            <a:p>
              <a:pPr defTabSz="821115" eaLnBrk="0" hangingPunct="0"/>
              <a:r>
                <a:rPr kumimoji="0" lang="en-US" sz="800" dirty="0">
                  <a:solidFill>
                    <a:srgbClr val="000000"/>
                  </a:solidFill>
                  <a:latin typeface="Arial"/>
                  <a:ea typeface="+mn-ea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kumimoji="0" lang="en-US" sz="1600" dirty="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kumimoji="0" lang="en-US" sz="1600" dirty="0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0" lang="en-US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3" y="6574549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775" y="28052"/>
            <a:ext cx="638077" cy="478529"/>
          </a:xfrm>
          <a:prstGeom prst="rect">
            <a:avLst/>
          </a:prstGeom>
        </p:spPr>
      </p:pic>
      <p:sp>
        <p:nvSpPr>
          <p:cNvPr id="15" name="Slide Number"/>
          <p:cNvSpPr txBox="1">
            <a:spLocks/>
          </p:cNvSpPr>
          <p:nvPr userDrawn="1"/>
        </p:nvSpPr>
        <p:spPr>
          <a:xfrm>
            <a:off x="11773096" y="666443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kumimoji="0" lang="en-US" sz="1000" smtClean="0">
                <a:solidFill>
                  <a:srgbClr val="000000"/>
                </a:solidFill>
                <a:ea typeface="+mn-ea"/>
              </a:rPr>
              <a:pPr/>
              <a:t>‹#›</a:t>
            </a:fld>
            <a:endParaRPr kumimoji="0" lang="en-US" sz="1000" dirty="0">
              <a:solidFill>
                <a:srgbClr val="000000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727027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42129" y="500647"/>
            <a:ext cx="9796681" cy="29238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833919" y="6645193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kumimoji="0" lang="en-US" sz="900" smtClean="0">
                <a:solidFill>
                  <a:srgbClr val="000000"/>
                </a:solidFill>
                <a:ea typeface="+mn-ea"/>
                <a:sym typeface="Arial"/>
              </a:rPr>
              <a:pPr/>
              <a:t>‹#›</a:t>
            </a:fld>
            <a:endParaRPr kumimoji="0" lang="en-US" sz="900" dirty="0">
              <a:solidFill>
                <a:srgbClr val="000000"/>
              </a:solidFill>
              <a:ea typeface="+mn-ea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56940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833919" y="6645193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kumimoji="0" lang="en-US" sz="900" smtClean="0">
                <a:solidFill>
                  <a:srgbClr val="000000"/>
                </a:solidFill>
                <a:ea typeface="+mn-ea"/>
                <a:sym typeface="Arial"/>
              </a:rPr>
              <a:pPr/>
              <a:t>‹#›</a:t>
            </a:fld>
            <a:endParaRPr kumimoji="0" lang="en-US" sz="900" dirty="0">
              <a:solidFill>
                <a:srgbClr val="000000"/>
              </a:solidFill>
              <a:ea typeface="+mn-ea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34334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292388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8801" y="3886202"/>
            <a:ext cx="8534400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B7585EA8-082B-484E-919D-59CA4467B3CC}" type="datetimeFigureOut">
              <a:rPr kumimoji="0" lang="zh-TW" altLang="en-US" sz="1600">
                <a:solidFill>
                  <a:srgbClr val="000000"/>
                </a:solidFill>
                <a:latin typeface="Arial"/>
                <a:ea typeface="+mn-ea"/>
              </a:rPr>
              <a:pPr/>
              <a:t>2022/4/7</a:t>
            </a:fld>
            <a:endParaRPr kumimoji="0" lang="zh-TW" altLang="en-US" sz="160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kumimoji="0" lang="zh-TW" altLang="en-US" sz="160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598459F8-6518-420F-B47B-1CCEACE75EB5}" type="slidenum">
              <a:rPr kumimoji="0" lang="zh-TW" altLang="en-US" sz="1600">
                <a:solidFill>
                  <a:srgbClr val="000000"/>
                </a:solidFill>
                <a:latin typeface="Arial"/>
                <a:ea typeface="+mn-ea"/>
              </a:rPr>
              <a:pPr/>
              <a:t>‹#›</a:t>
            </a:fld>
            <a:endParaRPr kumimoji="0" lang="zh-TW" altLang="en-US" sz="1600">
              <a:solidFill>
                <a:srgbClr val="00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4721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117600" y="1600205"/>
            <a:ext cx="10566400" cy="4525963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TW" altLang="en-US" dirty="0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>
          <a:xfrm>
            <a:off x="1117600" y="279405"/>
            <a:ext cx="10566400" cy="830997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5892800" y="6477000"/>
            <a:ext cx="711200" cy="381000"/>
          </a:xfrm>
        </p:spPr>
        <p:txBody>
          <a:bodyPr/>
          <a:lstStyle>
            <a:lvl1pPr>
              <a:defRPr/>
            </a:lvl1pPr>
          </a:lstStyle>
          <a:p>
            <a:fld id="{589CFC44-4ACE-406F-827A-0341001B0491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117865"/>
      </p:ext>
    </p:extLst>
  </p:cSld>
  <p:clrMapOvr>
    <a:masterClrMapping/>
  </p:clrMapOvr>
  <p:transition spd="slow">
    <p:zoom dir="in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117600" y="4406902"/>
            <a:ext cx="10363200" cy="913007"/>
          </a:xfrm>
        </p:spPr>
        <p:txBody>
          <a:bodyPr/>
          <a:lstStyle>
            <a:lvl1pPr algn="l">
              <a:defRPr sz="5333" b="1" cap="all"/>
            </a:lvl1pPr>
          </a:lstStyle>
          <a:p>
            <a:r>
              <a:rPr lang="zh-CN" altLang="en-US"/>
              <a:t>单击此处编辑母版标题样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1117600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11582405" y="6507163"/>
            <a:ext cx="488951" cy="381000"/>
          </a:xfrm>
        </p:spPr>
        <p:txBody>
          <a:bodyPr/>
          <a:lstStyle>
            <a:lvl1pPr>
              <a:defRPr/>
            </a:lvl1pPr>
          </a:lstStyle>
          <a:p>
            <a:fld id="{589CFC44-4ACE-406F-827A-0341001B0491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042271"/>
      </p:ext>
    </p:extLst>
  </p:cSld>
  <p:clrMapOvr>
    <a:masterClrMapping/>
  </p:clrMapOvr>
  <p:transition spd="slow">
    <p:zoom dir="in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1117600" y="1600205"/>
            <a:ext cx="50800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400800" y="1600205"/>
            <a:ext cx="51816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>
          <a:xfrm>
            <a:off x="11582405" y="6507163"/>
            <a:ext cx="488951" cy="381000"/>
          </a:xfrm>
        </p:spPr>
        <p:txBody>
          <a:bodyPr/>
          <a:lstStyle>
            <a:lvl1pPr>
              <a:defRPr/>
            </a:lvl1pPr>
          </a:lstStyle>
          <a:p>
            <a:fld id="{589CFC44-4ACE-406F-827A-0341001B0491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963679"/>
      </p:ext>
    </p:extLst>
  </p:cSld>
  <p:clrMapOvr>
    <a:masterClrMapping/>
  </p:clrMapOvr>
  <p:transition spd="slow">
    <p:zoom dir="in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117600" y="274642"/>
            <a:ext cx="10464800" cy="830997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TW" altLang="en-US" dirty="0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1117600" y="1535117"/>
            <a:ext cx="5080000" cy="639763"/>
          </a:xfrm>
        </p:spPr>
        <p:txBody>
          <a:bodyPr anchor="b"/>
          <a:lstStyle>
            <a:lvl1pPr marL="0" indent="0">
              <a:buNone/>
              <a:defRPr sz="2933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1117600" y="2174875"/>
            <a:ext cx="5080000" cy="3951288"/>
          </a:xfrm>
        </p:spPr>
        <p:txBody>
          <a:bodyPr/>
          <a:lstStyle>
            <a:lvl1pPr>
              <a:defRPr sz="2933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TW" altLang="en-US" dirty="0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6294970" y="1535117"/>
            <a:ext cx="5287433" cy="639763"/>
          </a:xfrm>
        </p:spPr>
        <p:txBody>
          <a:bodyPr anchor="b"/>
          <a:lstStyle>
            <a:lvl1pPr marL="0" indent="0">
              <a:buNone/>
              <a:defRPr sz="2933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6294970" y="2174875"/>
            <a:ext cx="5287433" cy="3951288"/>
          </a:xfrm>
        </p:spPr>
        <p:txBody>
          <a:bodyPr/>
          <a:lstStyle>
            <a:lvl1pPr>
              <a:defRPr sz="2933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TW" altLang="en-US" dirty="0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>
          <a:xfrm>
            <a:off x="11582405" y="6507163"/>
            <a:ext cx="488951" cy="381000"/>
          </a:xfrm>
        </p:spPr>
        <p:txBody>
          <a:bodyPr/>
          <a:lstStyle>
            <a:lvl1pPr>
              <a:defRPr/>
            </a:lvl1pPr>
          </a:lstStyle>
          <a:p>
            <a:fld id="{589CFC44-4ACE-406F-827A-0341001B0491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620307"/>
      </p:ext>
    </p:extLst>
  </p:cSld>
  <p:clrMapOvr>
    <a:masterClrMapping/>
  </p:clrMapOvr>
  <p:transition spd="slow">
    <p:zoom dir="in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11582405" y="6507163"/>
            <a:ext cx="488951" cy="381000"/>
          </a:xfrm>
        </p:spPr>
        <p:txBody>
          <a:bodyPr/>
          <a:lstStyle>
            <a:lvl1pPr>
              <a:defRPr/>
            </a:lvl1pPr>
          </a:lstStyle>
          <a:p>
            <a:fld id="{589CFC44-4ACE-406F-827A-0341001B0491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577029"/>
      </p:ext>
    </p:extLst>
  </p:cSld>
  <p:clrMapOvr>
    <a:masterClrMapping/>
  </p:clrMapOvr>
  <p:transition spd="slow">
    <p:zoom dir="in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11582405" y="6507163"/>
            <a:ext cx="488951" cy="381000"/>
          </a:xfrm>
        </p:spPr>
        <p:txBody>
          <a:bodyPr/>
          <a:lstStyle>
            <a:lvl1pPr>
              <a:defRPr/>
            </a:lvl1pPr>
          </a:lstStyle>
          <a:p>
            <a:fld id="{589CFC44-4ACE-406F-827A-0341001B0491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646303"/>
      </p:ext>
    </p:extLst>
  </p:cSld>
  <p:clrMapOvr>
    <a:masterClrMapping/>
  </p:clrMapOvr>
  <p:transition spd="slow">
    <p:zoom dir="in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117603" y="491252"/>
            <a:ext cx="3503084" cy="943848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zh-CN" altLang="en-US"/>
              <a:t>单击此处编辑母版标题样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766733" y="482601"/>
            <a:ext cx="6815667" cy="5643564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117603" y="1435103"/>
            <a:ext cx="3503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>
          <a:xfrm>
            <a:off x="11582405" y="6507163"/>
            <a:ext cx="488951" cy="381000"/>
          </a:xfrm>
        </p:spPr>
        <p:txBody>
          <a:bodyPr/>
          <a:lstStyle>
            <a:lvl1pPr>
              <a:defRPr/>
            </a:lvl1pPr>
          </a:lstStyle>
          <a:p>
            <a:fld id="{589CFC44-4ACE-406F-827A-0341001B0491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233263"/>
      </p:ext>
    </p:extLst>
  </p:cSld>
  <p:clrMapOvr>
    <a:masterClrMapping/>
  </p:clrMapOvr>
  <p:transition spd="slow">
    <p:zoom dir="in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zh-CN" altLang="en-US"/>
              <a:t>单击此处编辑母版标题样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r>
              <a:rPr lang="zh-CN" altLang="en-US" noProof="0"/>
              <a:t>单击图标添加图片</a:t>
            </a:r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2389717" y="5367342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>
          <a:xfrm>
            <a:off x="11582405" y="6507163"/>
            <a:ext cx="488951" cy="381000"/>
          </a:xfrm>
        </p:spPr>
        <p:txBody>
          <a:bodyPr/>
          <a:lstStyle>
            <a:lvl1pPr>
              <a:defRPr/>
            </a:lvl1pPr>
          </a:lstStyle>
          <a:p>
            <a:fld id="{589CFC44-4ACE-406F-827A-0341001B0491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84157"/>
      </p:ext>
    </p:extLst>
  </p:cSld>
  <p:clrMapOvr>
    <a:masterClrMapping/>
  </p:clrMapOvr>
  <p:transition spd="slow">
    <p:zoom dir="in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2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5.jpg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16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圖片 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0"/>
            <a:ext cx="12191997" cy="6859628"/>
          </a:xfrm>
          <a:prstGeom prst="rect">
            <a:avLst/>
          </a:prstGeom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117600" y="177805"/>
            <a:ext cx="10464800" cy="86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/>
              <a:t>单击此处编辑母版标题样式</a:t>
            </a:r>
            <a:endParaRPr lang="en-US" altLang="zh-TW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17600" y="1600205"/>
            <a:ext cx="1046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altLang="zh-TW" dirty="0"/>
          </a:p>
        </p:txBody>
      </p:sp>
      <p:sp>
        <p:nvSpPr>
          <p:cNvPr id="29717" name="Rectangle 2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638799" y="6500287"/>
            <a:ext cx="914400" cy="383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kumimoji="1" sz="1333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新細明體" charset="-120"/>
              </a:defRPr>
            </a:lvl1pPr>
          </a:lstStyle>
          <a:p>
            <a:fld id="{589CFC44-4ACE-406F-827A-0341001B0491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004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  <p:sldLayoutId id="2147484031" r:id="rId12"/>
  </p:sldLayoutIdLst>
  <p:transition spd="slow">
    <p:zoom dir="in"/>
  </p:transition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4800" b="1" baseline="0">
          <a:solidFill>
            <a:srgbClr val="333333"/>
          </a:solidFill>
          <a:latin typeface="+mj-lt"/>
          <a:ea typeface="微軟正黑體" panose="020B0604030504040204" pitchFamily="34" charset="-120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4267" b="1">
          <a:solidFill>
            <a:srgbClr val="333333"/>
          </a:solidFill>
          <a:latin typeface="Arial" charset="0"/>
          <a:ea typeface="新細明體" charset="-12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4267" b="1">
          <a:solidFill>
            <a:srgbClr val="333333"/>
          </a:solidFill>
          <a:latin typeface="Arial" charset="0"/>
          <a:ea typeface="新細明體" charset="-12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4267" b="1">
          <a:solidFill>
            <a:srgbClr val="333333"/>
          </a:solidFill>
          <a:latin typeface="Arial" charset="0"/>
          <a:ea typeface="新細明體" charset="-12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4267" b="1">
          <a:solidFill>
            <a:srgbClr val="333333"/>
          </a:solidFill>
          <a:latin typeface="Arial" charset="0"/>
          <a:ea typeface="新細明體" charset="-12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kumimoji="1" sz="4267">
          <a:solidFill>
            <a:srgbClr val="333333"/>
          </a:solidFill>
          <a:latin typeface="Arial" charset="0"/>
          <a:ea typeface="新細明體" charset="-12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kumimoji="1" sz="4267">
          <a:solidFill>
            <a:srgbClr val="333333"/>
          </a:solidFill>
          <a:latin typeface="Arial" charset="0"/>
          <a:ea typeface="新細明體" charset="-12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kumimoji="1" sz="4267">
          <a:solidFill>
            <a:srgbClr val="333333"/>
          </a:solidFill>
          <a:latin typeface="Arial" charset="0"/>
          <a:ea typeface="新細明體" charset="-12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kumimoji="1" sz="4267">
          <a:solidFill>
            <a:srgbClr val="333333"/>
          </a:solidFill>
          <a:latin typeface="Arial" charset="0"/>
          <a:ea typeface="新細明體" charset="-120"/>
        </a:defRPr>
      </a:lvl9pPr>
    </p:titleStyle>
    <p:bodyStyle>
      <a:lvl1pPr marL="457189" indent="-457189" algn="l" rtl="0" eaLnBrk="1" fontAlgn="base" hangingPunct="1">
        <a:spcBef>
          <a:spcPct val="20000"/>
        </a:spcBef>
        <a:spcAft>
          <a:spcPct val="0"/>
        </a:spcAft>
        <a:buChar char="•"/>
        <a:defRPr kumimoji="1" sz="4000" baseline="0">
          <a:solidFill>
            <a:srgbClr val="4D4D4D"/>
          </a:solidFill>
          <a:latin typeface="+mn-lt"/>
          <a:ea typeface="+mn-ea"/>
          <a:cs typeface="+mn-cs"/>
        </a:defRPr>
      </a:lvl1pPr>
      <a:lvl2pPr marL="990575" indent="-380990" algn="l" rtl="0" eaLnBrk="1" fontAlgn="base" hangingPunct="1">
        <a:spcBef>
          <a:spcPct val="20000"/>
        </a:spcBef>
        <a:spcAft>
          <a:spcPct val="0"/>
        </a:spcAft>
        <a:buChar char="–"/>
        <a:defRPr kumimoji="1" sz="3467" baseline="0">
          <a:solidFill>
            <a:srgbClr val="4D4D4D"/>
          </a:solidFill>
          <a:latin typeface="+mn-lt"/>
          <a:ea typeface="+mn-ea"/>
        </a:defRPr>
      </a:lvl2pPr>
      <a:lvl3pPr marL="1523962" indent="-304792" algn="l" rtl="0" eaLnBrk="1" fontAlgn="base" hangingPunct="1">
        <a:spcBef>
          <a:spcPct val="20000"/>
        </a:spcBef>
        <a:spcAft>
          <a:spcPct val="0"/>
        </a:spcAft>
        <a:buChar char="•"/>
        <a:defRPr kumimoji="1" sz="2933" baseline="0">
          <a:solidFill>
            <a:srgbClr val="4D4D4D"/>
          </a:solidFill>
          <a:latin typeface="+mn-lt"/>
          <a:ea typeface="+mn-ea"/>
        </a:defRPr>
      </a:lvl3pPr>
      <a:lvl4pPr marL="2133547" indent="-304792" algn="l" rtl="0" eaLnBrk="1" fontAlgn="base" hangingPunct="1">
        <a:spcBef>
          <a:spcPct val="20000"/>
        </a:spcBef>
        <a:spcAft>
          <a:spcPct val="0"/>
        </a:spcAft>
        <a:buChar char="–"/>
        <a:defRPr kumimoji="1" sz="2667" baseline="0">
          <a:solidFill>
            <a:srgbClr val="4D4D4D"/>
          </a:solidFill>
          <a:latin typeface="+mn-lt"/>
          <a:ea typeface="+mn-ea"/>
        </a:defRPr>
      </a:lvl4pPr>
      <a:lvl5pPr marL="2743131" indent="-304792" algn="l" rtl="0" eaLnBrk="1" fontAlgn="base" hangingPunct="1">
        <a:spcBef>
          <a:spcPct val="20000"/>
        </a:spcBef>
        <a:spcAft>
          <a:spcPct val="0"/>
        </a:spcAft>
        <a:buChar char="»"/>
        <a:defRPr kumimoji="1" sz="2667" baseline="0">
          <a:solidFill>
            <a:srgbClr val="4D4D4D"/>
          </a:solidFill>
          <a:latin typeface="+mn-lt"/>
          <a:ea typeface="+mn-ea"/>
        </a:defRPr>
      </a:lvl5pPr>
      <a:lvl6pPr marL="3352716" indent="-304792" algn="l" rtl="0" eaLnBrk="1" fontAlgn="base" hangingPunct="1">
        <a:spcBef>
          <a:spcPct val="20000"/>
        </a:spcBef>
        <a:spcAft>
          <a:spcPct val="0"/>
        </a:spcAft>
        <a:buChar char="»"/>
        <a:defRPr kumimoji="1" sz="2667">
          <a:solidFill>
            <a:srgbClr val="4D4D4D"/>
          </a:solidFill>
          <a:latin typeface="+mn-lt"/>
          <a:ea typeface="+mn-ea"/>
        </a:defRPr>
      </a:lvl6pPr>
      <a:lvl7pPr marL="3962301" indent="-304792" algn="l" rtl="0" eaLnBrk="1" fontAlgn="base" hangingPunct="1">
        <a:spcBef>
          <a:spcPct val="20000"/>
        </a:spcBef>
        <a:spcAft>
          <a:spcPct val="0"/>
        </a:spcAft>
        <a:buChar char="»"/>
        <a:defRPr kumimoji="1" sz="2667">
          <a:solidFill>
            <a:srgbClr val="4D4D4D"/>
          </a:solidFill>
          <a:latin typeface="+mn-lt"/>
          <a:ea typeface="+mn-ea"/>
        </a:defRPr>
      </a:lvl7pPr>
      <a:lvl8pPr marL="4571886" indent="-304792" algn="l" rtl="0" eaLnBrk="1" fontAlgn="base" hangingPunct="1">
        <a:spcBef>
          <a:spcPct val="20000"/>
        </a:spcBef>
        <a:spcAft>
          <a:spcPct val="0"/>
        </a:spcAft>
        <a:buChar char="»"/>
        <a:defRPr kumimoji="1" sz="2667">
          <a:solidFill>
            <a:srgbClr val="4D4D4D"/>
          </a:solidFill>
          <a:latin typeface="+mn-lt"/>
          <a:ea typeface="+mn-ea"/>
        </a:defRPr>
      </a:lvl8pPr>
      <a:lvl9pPr marL="5181470" indent="-304792" algn="l" rtl="0" eaLnBrk="1" fontAlgn="base" hangingPunct="1">
        <a:spcBef>
          <a:spcPct val="20000"/>
        </a:spcBef>
        <a:spcAft>
          <a:spcPct val="0"/>
        </a:spcAft>
        <a:buChar char="»"/>
        <a:defRPr kumimoji="1" sz="2667">
          <a:solidFill>
            <a:srgbClr val="4D4D4D"/>
          </a:solidFill>
          <a:latin typeface="+mn-lt"/>
          <a:ea typeface="+mn-ea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2" y="1"/>
            <a:ext cx="12188401" cy="6858000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kumimoji="0" lang="en-US" sz="80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11866940" y="1980948"/>
            <a:ext cx="46006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600" dirty="0">
                <a:solidFill>
                  <a:srgbClr val="000000"/>
                </a:solidFill>
                <a:latin typeface="Arial"/>
                <a:ea typeface="+mn-ea"/>
              </a:rPr>
              <a:t>Last Modified</a:t>
            </a:r>
            <a:endParaRPr kumimoji="0" lang="en-US" sz="160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11974339" y="4198929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600" dirty="0">
                <a:solidFill>
                  <a:srgbClr val="000000"/>
                </a:solidFill>
                <a:latin typeface="Arial"/>
                <a:ea typeface="+mn-ea"/>
              </a:rPr>
              <a:t>Printed</a:t>
            </a:r>
            <a:endParaRPr kumimoji="0" lang="en-US" sz="160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40030" y="504942"/>
            <a:ext cx="1069983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noProof="0"/>
              <a:t>按一下以編輯母片標題樣式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40027" y="29761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kumimoji="0" lang="en-US" sz="1400" dirty="0">
                <a:solidFill>
                  <a:srgbClr val="808080"/>
                </a:solidFill>
                <a:latin typeface="Arial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40028" y="812691"/>
            <a:ext cx="1069983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kumimoji="0" lang="en-US" sz="1600" dirty="0">
                <a:solidFill>
                  <a:srgbClr val="808080"/>
                </a:solidFill>
                <a:latin typeface="Arial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38981" y="6269149"/>
            <a:ext cx="10750651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kumimoji="0" lang="en-US" sz="1000" dirty="0">
                <a:solidFill>
                  <a:srgbClr val="000000"/>
                </a:solidFill>
                <a:latin typeface="Arial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38980" y="6449824"/>
            <a:ext cx="8630467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kumimoji="0" lang="en-US" sz="1000" dirty="0">
                <a:solidFill>
                  <a:srgbClr val="000000"/>
                </a:solidFill>
                <a:latin typeface="Arial"/>
                <a:ea typeface="+mn-ea"/>
              </a:rPr>
              <a:t>SOURCE: Source</a:t>
            </a:r>
          </a:p>
        </p:txBody>
      </p:sp>
      <p:grpSp>
        <p:nvGrpSpPr>
          <p:cNvPr id="15" name="ACET"/>
          <p:cNvGrpSpPr>
            <a:grpSpLocks/>
          </p:cNvGrpSpPr>
          <p:nvPr/>
        </p:nvGrpSpPr>
        <p:grpSpPr bwMode="auto">
          <a:xfrm>
            <a:off x="1976208" y="1150019"/>
            <a:ext cx="5801189" cy="518318"/>
            <a:chOff x="915" y="710"/>
            <a:chExt cx="2686" cy="320"/>
          </a:xfrm>
        </p:grpSpPr>
        <p:cxnSp>
          <p:nvCxnSpPr>
            <p:cNvPr id="16" name="AutoShape 249" hidden="1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kumimoji="0" lang="en-US" sz="1600" b="1" dirty="0">
                  <a:solidFill>
                    <a:srgbClr val="000000"/>
                  </a:solidFill>
                  <a:latin typeface="Arial"/>
                  <a:ea typeface="+mn-ea"/>
                </a:rPr>
                <a:t>Title</a:t>
              </a:r>
            </a:p>
            <a:p>
              <a:r>
                <a:rPr kumimoji="0" lang="en-US" sz="1600" dirty="0">
                  <a:solidFill>
                    <a:srgbClr val="808080"/>
                  </a:solidFill>
                  <a:latin typeface="Arial"/>
                  <a:ea typeface="+mn-ea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6208" y="1991016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pic>
        <p:nvPicPr>
          <p:cNvPr id="18" name="Picture 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775" y="28052"/>
            <a:ext cx="638077" cy="478529"/>
          </a:xfrm>
          <a:prstGeom prst="rect">
            <a:avLst/>
          </a:prstGeom>
        </p:spPr>
      </p:pic>
      <p:sp>
        <p:nvSpPr>
          <p:cNvPr id="20" name="Slide Number"/>
          <p:cNvSpPr txBox="1">
            <a:spLocks/>
          </p:cNvSpPr>
          <p:nvPr userDrawn="1"/>
        </p:nvSpPr>
        <p:spPr>
          <a:xfrm>
            <a:off x="11833919" y="6645193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kumimoji="0" lang="en-US" sz="900" smtClean="0">
                <a:solidFill>
                  <a:srgbClr val="000000"/>
                </a:solidFill>
                <a:ea typeface="+mn-ea"/>
                <a:sym typeface="Arial"/>
              </a:rPr>
              <a:pPr/>
              <a:t>‹#›</a:t>
            </a:fld>
            <a:endParaRPr kumimoji="0" lang="en-US" sz="900" dirty="0">
              <a:solidFill>
                <a:srgbClr val="000000"/>
              </a:solidFill>
              <a:ea typeface="+mn-ea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60075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  <p:sldLayoutId id="2147484024" r:id="rId2"/>
    <p:sldLayoutId id="2147484025" r:id="rId3"/>
    <p:sldLayoutId id="2147484027" r:id="rId4"/>
    <p:sldLayoutId id="2147484028" r:id="rId5"/>
    <p:sldLayoutId id="2147484029" r:id="rId6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image" Target="../media/image9.png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emf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群組 3">
            <a:extLst>
              <a:ext uri="{FF2B5EF4-FFF2-40B4-BE49-F238E27FC236}">
                <a16:creationId xmlns:a16="http://schemas.microsoft.com/office/drawing/2014/main" id="{1BBA1ECD-2452-4ABC-A349-10CE861F19CF}"/>
              </a:ext>
            </a:extLst>
          </p:cNvPr>
          <p:cNvGrpSpPr/>
          <p:nvPr/>
        </p:nvGrpSpPr>
        <p:grpSpPr>
          <a:xfrm>
            <a:off x="2286000" y="1070775"/>
            <a:ext cx="8342819" cy="5669731"/>
            <a:chOff x="152400" y="732641"/>
            <a:chExt cx="8708307" cy="6125359"/>
          </a:xfrm>
        </p:grpSpPr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FAC85891-CD33-48AD-996C-AE38F00E5189}"/>
                </a:ext>
              </a:extLst>
            </p:cNvPr>
            <p:cNvSpPr/>
            <p:nvPr/>
          </p:nvSpPr>
          <p:spPr bwMode="auto">
            <a:xfrm>
              <a:off x="1124186" y="4320729"/>
              <a:ext cx="6779431" cy="6867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solidFill>
                <a:srgbClr val="609CA6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95" tIns="46648" rIns="93295" bIns="46648" numCol="1" rtlCol="0" anchor="ctr" anchorCtr="0" compatLnSpc="1">
              <a:prstTxWarp prst="textNoShape">
                <a:avLst/>
              </a:prstTxWarp>
            </a:bodyPr>
            <a:lstStyle/>
            <a:p>
              <a:pPr marL="349859" indent="-349859" algn="ctr" defTabSz="932958" eaLnBrk="0" fontAlgn="auto" hangingPunct="0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kumimoji="0" lang="zh-TW" altLang="en-US" sz="1428" b="1" kern="0" dirty="0">
                <a:solidFill>
                  <a:srgbClr val="000000"/>
                </a:solidFill>
                <a:latin typeface="Arial"/>
                <a:ea typeface="新細明體"/>
              </a:endParaRPr>
            </a:p>
          </p:txBody>
        </p:sp>
        <p:sp>
          <p:nvSpPr>
            <p:cNvPr id="6" name="上下箭头 143">
              <a:extLst>
                <a:ext uri="{FF2B5EF4-FFF2-40B4-BE49-F238E27FC236}">
                  <a16:creationId xmlns:a16="http://schemas.microsoft.com/office/drawing/2014/main" id="{42493E00-AA91-4D18-8353-9639C61318A2}"/>
                </a:ext>
              </a:extLst>
            </p:cNvPr>
            <p:cNvSpPr/>
            <p:nvPr/>
          </p:nvSpPr>
          <p:spPr>
            <a:xfrm flipH="1">
              <a:off x="4246839" y="1393351"/>
              <a:ext cx="442581" cy="993269"/>
            </a:xfrm>
            <a:prstGeom prst="upDownArrow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kumimoji="0" lang="zh-CN" altLang="en-US" dirty="0" err="1">
                <a:solidFill>
                  <a:schemeClr val="tx1"/>
                </a:solidFill>
                <a:latin typeface="Arial" charset="0"/>
                <a:ea typeface="新細明體" charset="-120"/>
              </a:endParaRPr>
            </a:p>
          </p:txBody>
        </p:sp>
        <p:sp>
          <p:nvSpPr>
            <p:cNvPr id="7" name="圓角矩形 28">
              <a:extLst>
                <a:ext uri="{FF2B5EF4-FFF2-40B4-BE49-F238E27FC236}">
                  <a16:creationId xmlns:a16="http://schemas.microsoft.com/office/drawing/2014/main" id="{F89C1478-1FEB-4A81-B8BE-B19785BE7F2C}"/>
                </a:ext>
              </a:extLst>
            </p:cNvPr>
            <p:cNvSpPr/>
            <p:nvPr/>
          </p:nvSpPr>
          <p:spPr bwMode="auto">
            <a:xfrm>
              <a:off x="1120612" y="736109"/>
              <a:ext cx="6783001" cy="711580"/>
            </a:xfrm>
            <a:prstGeom prst="roundRect">
              <a:avLst>
                <a:gd name="adj" fmla="val 5473"/>
              </a:avLst>
            </a:prstGeom>
            <a:gradFill flip="none" rotWithShape="1">
              <a:gsLst>
                <a:gs pos="0">
                  <a:srgbClr val="7030A0">
                    <a:shade val="30000"/>
                    <a:satMod val="115000"/>
                  </a:srgbClr>
                </a:gs>
                <a:gs pos="50000">
                  <a:srgbClr val="7030A0">
                    <a:shade val="67500"/>
                    <a:satMod val="115000"/>
                  </a:srgbClr>
                </a:gs>
                <a:gs pos="100000">
                  <a:srgbClr val="7030A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20" tIns="60960" rIns="121920" bIns="6096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kumimoji="0" lang="en-US" altLang="zh-TW" sz="1867" dirty="0">
                <a:solidFill>
                  <a:schemeClr val="bg1"/>
                </a:solidFill>
              </a:endParaRP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D4B6307B-5C33-44ED-96D2-8E40E47C7AC2}"/>
                </a:ext>
              </a:extLst>
            </p:cNvPr>
            <p:cNvSpPr/>
            <p:nvPr/>
          </p:nvSpPr>
          <p:spPr bwMode="auto">
            <a:xfrm>
              <a:off x="1172634" y="3165143"/>
              <a:ext cx="6655324" cy="95005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32962" eaLnBrk="0" hangingPunct="0"/>
              <a:r>
                <a:rPr kumimoji="0" lang="en-US" altLang="zh-CN" sz="1224" dirty="0"/>
                <a:t>API</a:t>
              </a: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0F6D4DB5-DE35-4B27-BB50-7DE96C369F19}"/>
                </a:ext>
              </a:extLst>
            </p:cNvPr>
            <p:cNvSpPr/>
            <p:nvPr/>
          </p:nvSpPr>
          <p:spPr bwMode="auto">
            <a:xfrm>
              <a:off x="1172633" y="2403361"/>
              <a:ext cx="6661724" cy="6659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32962" eaLnBrk="0" hangingPunct="0"/>
              <a:r>
                <a:rPr kumimoji="0" lang="en-US" altLang="zh-CN" sz="1224" dirty="0"/>
                <a:t>UI</a:t>
              </a:r>
            </a:p>
          </p:txBody>
        </p:sp>
        <p:sp>
          <p:nvSpPr>
            <p:cNvPr id="10" name="文本框 8">
              <a:extLst>
                <a:ext uri="{FF2B5EF4-FFF2-40B4-BE49-F238E27FC236}">
                  <a16:creationId xmlns:a16="http://schemas.microsoft.com/office/drawing/2014/main" id="{8C8AAB48-6830-4A33-B2EF-3F7A53073B16}"/>
                </a:ext>
              </a:extLst>
            </p:cNvPr>
            <p:cNvSpPr txBox="1"/>
            <p:nvPr/>
          </p:nvSpPr>
          <p:spPr>
            <a:xfrm>
              <a:off x="7038947" y="2506243"/>
              <a:ext cx="682895" cy="26933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zh-CN" sz="1020" dirty="0"/>
                <a:t>Angular</a:t>
              </a:r>
              <a:endParaRPr lang="zh-CN" altLang="en-US" sz="1020" dirty="0"/>
            </a:p>
          </p:txBody>
        </p:sp>
        <p:grpSp>
          <p:nvGrpSpPr>
            <p:cNvPr id="12" name="组合 13">
              <a:extLst>
                <a:ext uri="{FF2B5EF4-FFF2-40B4-BE49-F238E27FC236}">
                  <a16:creationId xmlns:a16="http://schemas.microsoft.com/office/drawing/2014/main" id="{91B3F864-C589-46D6-8A31-049928787047}"/>
                </a:ext>
              </a:extLst>
            </p:cNvPr>
            <p:cNvGrpSpPr/>
            <p:nvPr/>
          </p:nvGrpSpPr>
          <p:grpSpPr>
            <a:xfrm>
              <a:off x="7974038" y="4578150"/>
              <a:ext cx="886669" cy="677987"/>
              <a:chOff x="2566107" y="4480193"/>
              <a:chExt cx="869018" cy="664490"/>
            </a:xfrm>
          </p:grpSpPr>
          <p:sp>
            <p:nvSpPr>
              <p:cNvPr id="111" name="矩形 110">
                <a:extLst>
                  <a:ext uri="{FF2B5EF4-FFF2-40B4-BE49-F238E27FC236}">
                    <a16:creationId xmlns:a16="http://schemas.microsoft.com/office/drawing/2014/main" id="{B8B891D9-E564-447F-865B-76A01304C72E}"/>
                  </a:ext>
                </a:extLst>
              </p:cNvPr>
              <p:cNvSpPr/>
              <p:nvPr/>
            </p:nvSpPr>
            <p:spPr bwMode="auto">
              <a:xfrm>
                <a:off x="2566107" y="4758626"/>
                <a:ext cx="869018" cy="386057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297" tIns="46649" rIns="93297" bIns="46649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/>
                <a:r>
                  <a:rPr lang="en-US" altLang="zh-TW" sz="1020" b="1" kern="0" dirty="0" err="1">
                    <a:solidFill>
                      <a:srgbClr val="185361">
                        <a:lumMod val="75000"/>
                      </a:srgb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  <a:cs typeface="新細明體" pitchFamily="-108" charset="-120"/>
                  </a:rPr>
                  <a:t>FlexSim</a:t>
                </a:r>
                <a:endParaRPr lang="en-US" altLang="zh-TW" sz="1020" b="1" kern="0" dirty="0">
                  <a:solidFill>
                    <a:srgbClr val="185361">
                      <a:lumMod val="75000"/>
                    </a:srgb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新細明體" pitchFamily="-108" charset="-120"/>
                </a:endParaRPr>
              </a:p>
            </p:txBody>
          </p:sp>
          <p:pic>
            <p:nvPicPr>
              <p:cNvPr id="112" name="圖片 7">
                <a:extLst>
                  <a:ext uri="{FF2B5EF4-FFF2-40B4-BE49-F238E27FC236}">
                    <a16:creationId xmlns:a16="http://schemas.microsoft.com/office/drawing/2014/main" id="{EC219F5D-9832-41DF-A50E-6802918379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853413" y="4480193"/>
                <a:ext cx="304903" cy="308230"/>
              </a:xfrm>
              <a:prstGeom prst="rect">
                <a:avLst/>
              </a:prstGeom>
            </p:spPr>
          </p:pic>
        </p:grp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15E33540-D761-46B1-B144-637A09E5E1E0}"/>
                </a:ext>
              </a:extLst>
            </p:cNvPr>
            <p:cNvSpPr/>
            <p:nvPr/>
          </p:nvSpPr>
          <p:spPr bwMode="auto">
            <a:xfrm>
              <a:off x="152400" y="5110854"/>
              <a:ext cx="890131" cy="855075"/>
            </a:xfrm>
            <a:prstGeom prst="rect">
              <a:avLst/>
            </a:prstGeom>
            <a:solidFill>
              <a:srgbClr val="00536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127000">
                <a:srgbClr val="609CA6">
                  <a:lumMod val="40000"/>
                  <a:lumOff val="60000"/>
                  <a:alpha val="40000"/>
                </a:srgb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3295" tIns="46648" rIns="93295" bIns="4664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958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TW" sz="1224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Platform Layer</a:t>
              </a: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1182DAD6-84FB-40C9-8011-E95447E578E5}"/>
                </a:ext>
              </a:extLst>
            </p:cNvPr>
            <p:cNvSpPr/>
            <p:nvPr/>
          </p:nvSpPr>
          <p:spPr bwMode="auto">
            <a:xfrm>
              <a:off x="152400" y="2363020"/>
              <a:ext cx="890131" cy="1842689"/>
            </a:xfrm>
            <a:prstGeom prst="rect">
              <a:avLst/>
            </a:prstGeom>
            <a:solidFill>
              <a:srgbClr val="00536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127000">
                <a:srgbClr val="609CA6">
                  <a:lumMod val="40000"/>
                  <a:lumOff val="60000"/>
                  <a:alpha val="40000"/>
                </a:srgb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3295" tIns="46648" rIns="93295" bIns="4664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958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TW" sz="1224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Service </a:t>
              </a:r>
            </a:p>
            <a:p>
              <a:pPr algn="ctr" defTabSz="932958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TW" sz="1224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Layer</a:t>
              </a:r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3171ACE3-AA20-4D6E-BAF0-61A5CDB4D837}"/>
                </a:ext>
              </a:extLst>
            </p:cNvPr>
            <p:cNvSpPr/>
            <p:nvPr/>
          </p:nvSpPr>
          <p:spPr bwMode="auto">
            <a:xfrm>
              <a:off x="1112951" y="5110854"/>
              <a:ext cx="6790665" cy="831889"/>
            </a:xfrm>
            <a:prstGeom prst="rect">
              <a:avLst/>
            </a:prstGeom>
            <a:noFill/>
            <a:ln w="19050" cap="flat" cmpd="sng" algn="ctr">
              <a:solidFill>
                <a:srgbClr val="609CA6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95" tIns="46648" rIns="93295" bIns="46648" numCol="1" rtlCol="0" anchor="ctr" anchorCtr="0" compatLnSpc="1">
              <a:prstTxWarp prst="textNoShape">
                <a:avLst/>
              </a:prstTxWarp>
            </a:bodyPr>
            <a:lstStyle/>
            <a:p>
              <a:pPr marL="349859" indent="-349859" algn="ctr" defTabSz="932958" eaLnBrk="0" fontAlgn="auto" hangingPunct="0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kumimoji="0" lang="zh-TW" altLang="en-US" sz="1428" b="1" kern="0" dirty="0">
                <a:solidFill>
                  <a:srgbClr val="000000"/>
                </a:solidFill>
                <a:latin typeface="Arial"/>
                <a:ea typeface="新細明體"/>
              </a:endParaRPr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E14A9F94-F898-403A-AF1C-CD5E292CED07}"/>
                </a:ext>
              </a:extLst>
            </p:cNvPr>
            <p:cNvSpPr/>
            <p:nvPr/>
          </p:nvSpPr>
          <p:spPr bwMode="auto">
            <a:xfrm>
              <a:off x="1120615" y="2363020"/>
              <a:ext cx="6783002" cy="1832502"/>
            </a:xfrm>
            <a:prstGeom prst="rect">
              <a:avLst/>
            </a:prstGeom>
            <a:noFill/>
            <a:ln w="19050" cap="flat" cmpd="sng" algn="ctr">
              <a:solidFill>
                <a:srgbClr val="609CA6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95" tIns="46648" rIns="93295" bIns="46648" numCol="1" rtlCol="0" anchor="ctr" anchorCtr="0" compatLnSpc="1">
              <a:prstTxWarp prst="textNoShape">
                <a:avLst/>
              </a:prstTxWarp>
            </a:bodyPr>
            <a:lstStyle/>
            <a:p>
              <a:pPr marL="349859" indent="-349859" algn="ctr" defTabSz="932958" eaLnBrk="0" fontAlgn="auto" hangingPunct="0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kumimoji="0" lang="zh-TW" altLang="en-US" sz="1428" b="1" kern="0" dirty="0">
                <a:solidFill>
                  <a:srgbClr val="000000"/>
                </a:solidFill>
                <a:latin typeface="Arial"/>
                <a:ea typeface="新細明體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61EA68B4-CA65-41BE-B84A-ABFF526A919A}"/>
                </a:ext>
              </a:extLst>
            </p:cNvPr>
            <p:cNvSpPr/>
            <p:nvPr/>
          </p:nvSpPr>
          <p:spPr bwMode="auto">
            <a:xfrm>
              <a:off x="152400" y="6049103"/>
              <a:ext cx="890131" cy="504097"/>
            </a:xfrm>
            <a:prstGeom prst="rect">
              <a:avLst/>
            </a:prstGeom>
            <a:solidFill>
              <a:srgbClr val="00536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127000">
                <a:srgbClr val="609CA6">
                  <a:lumMod val="40000"/>
                  <a:lumOff val="60000"/>
                  <a:alpha val="40000"/>
                </a:srgb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3295" tIns="46648" rIns="93295" bIns="4664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958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TW" sz="1224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Infra.</a:t>
              </a:r>
            </a:p>
            <a:p>
              <a:pPr algn="ctr" defTabSz="932958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zh-TW" sz="1224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Layer</a:t>
              </a:r>
              <a:endParaRPr kumimoji="0" lang="zh-TW" altLang="en-US" sz="1224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08" name="文本框 16">
              <a:extLst>
                <a:ext uri="{FF2B5EF4-FFF2-40B4-BE49-F238E27FC236}">
                  <a16:creationId xmlns:a16="http://schemas.microsoft.com/office/drawing/2014/main" id="{1BDD9903-EB7C-4669-B294-AD7557C545A9}"/>
                </a:ext>
              </a:extLst>
            </p:cNvPr>
            <p:cNvSpPr txBox="1"/>
            <p:nvPr/>
          </p:nvSpPr>
          <p:spPr>
            <a:xfrm>
              <a:off x="5424758" y="2592393"/>
              <a:ext cx="1129764" cy="2660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eaLnBrk="0" hangingPunct="0"/>
              <a:r>
                <a:rPr lang="zh-TW" altLang="en-US" sz="1000" b="1" dirty="0">
                  <a:solidFill>
                    <a:schemeClr val="accent1">
                      <a:lumMod val="50000"/>
                    </a:schemeClr>
                  </a:solidFill>
                </a:rPr>
                <a:t>貨櫃貨物分布圖</a:t>
              </a:r>
            </a:p>
          </p:txBody>
        </p:sp>
        <p:grpSp>
          <p:nvGrpSpPr>
            <p:cNvPr id="22" name="组合 36">
              <a:extLst>
                <a:ext uri="{FF2B5EF4-FFF2-40B4-BE49-F238E27FC236}">
                  <a16:creationId xmlns:a16="http://schemas.microsoft.com/office/drawing/2014/main" id="{2FFB9BD1-486A-4B65-9960-834051B27413}"/>
                </a:ext>
              </a:extLst>
            </p:cNvPr>
            <p:cNvGrpSpPr/>
            <p:nvPr/>
          </p:nvGrpSpPr>
          <p:grpSpPr>
            <a:xfrm>
              <a:off x="1822702" y="5148515"/>
              <a:ext cx="1839255" cy="678550"/>
              <a:chOff x="6653422" y="3129360"/>
              <a:chExt cx="1958513" cy="665042"/>
            </a:xfrm>
          </p:grpSpPr>
          <p:sp>
            <p:nvSpPr>
              <p:cNvPr id="101" name="文字方塊 225">
                <a:extLst>
                  <a:ext uri="{FF2B5EF4-FFF2-40B4-BE49-F238E27FC236}">
                    <a16:creationId xmlns:a16="http://schemas.microsoft.com/office/drawing/2014/main" id="{F4F29CA0-E450-44B0-BBBC-63F951A0D21D}"/>
                  </a:ext>
                </a:extLst>
              </p:cNvPr>
              <p:cNvSpPr txBox="1"/>
              <p:nvPr/>
            </p:nvSpPr>
            <p:spPr>
              <a:xfrm>
                <a:off x="7236227" y="3129360"/>
                <a:ext cx="718720" cy="2607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32958">
                  <a:defRPr/>
                </a:pPr>
                <a:r>
                  <a:rPr lang="en-US" altLang="zh-TW" sz="1000" b="1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evOps</a:t>
                </a:r>
                <a:endParaRPr lang="zh-TW" altLang="en-US" sz="1000" b="1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grpSp>
            <p:nvGrpSpPr>
              <p:cNvPr id="102" name="组合 106">
                <a:extLst>
                  <a:ext uri="{FF2B5EF4-FFF2-40B4-BE49-F238E27FC236}">
                    <a16:creationId xmlns:a16="http://schemas.microsoft.com/office/drawing/2014/main" id="{F66062C4-137C-4592-A9D6-428B28C79BA4}"/>
                  </a:ext>
                </a:extLst>
              </p:cNvPr>
              <p:cNvGrpSpPr/>
              <p:nvPr/>
            </p:nvGrpSpPr>
            <p:grpSpPr>
              <a:xfrm>
                <a:off x="6653422" y="3396252"/>
                <a:ext cx="1958513" cy="398150"/>
                <a:chOff x="6800953" y="3486134"/>
                <a:chExt cx="1958513" cy="398150"/>
              </a:xfrm>
            </p:grpSpPr>
            <p:sp>
              <p:nvSpPr>
                <p:cNvPr id="103" name="矩形 102">
                  <a:extLst>
                    <a:ext uri="{FF2B5EF4-FFF2-40B4-BE49-F238E27FC236}">
                      <a16:creationId xmlns:a16="http://schemas.microsoft.com/office/drawing/2014/main" id="{9E8CAA42-6738-48B1-B8D8-D185966494C7}"/>
                    </a:ext>
                  </a:extLst>
                </p:cNvPr>
                <p:cNvSpPr/>
                <p:nvPr/>
              </p:nvSpPr>
              <p:spPr bwMode="auto">
                <a:xfrm>
                  <a:off x="6802383" y="3486134"/>
                  <a:ext cx="1957083" cy="398150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square" lIns="93295" tIns="46648" rIns="93295" bIns="4664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32958" eaLnBrk="0" hangingPunct="0">
                    <a:defRPr/>
                  </a:pPr>
                  <a:endParaRPr kumimoji="0" lang="zh-TW" altLang="en-US" sz="1837">
                    <a:solidFill>
                      <a:srgbClr val="000000"/>
                    </a:solidFill>
                  </a:endParaRPr>
                </a:p>
              </p:txBody>
            </p:sp>
            <p:pic>
              <p:nvPicPr>
                <p:cNvPr id="104" name="圖片 238">
                  <a:extLst>
                    <a:ext uri="{FF2B5EF4-FFF2-40B4-BE49-F238E27FC236}">
                      <a16:creationId xmlns:a16="http://schemas.microsoft.com/office/drawing/2014/main" id="{1BD31B10-C7C9-433A-BBCC-77F41A9A173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800953" y="3556811"/>
                  <a:ext cx="570766" cy="252022"/>
                </a:xfrm>
                <a:prstGeom prst="rect">
                  <a:avLst/>
                </a:prstGeom>
              </p:spPr>
            </p:pic>
            <p:pic>
              <p:nvPicPr>
                <p:cNvPr id="105" name="圖片 240">
                  <a:extLst>
                    <a:ext uri="{FF2B5EF4-FFF2-40B4-BE49-F238E27FC236}">
                      <a16:creationId xmlns:a16="http://schemas.microsoft.com/office/drawing/2014/main" id="{09604132-D4F8-4072-810E-FCDF543959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20646" y="3556811"/>
                  <a:ext cx="644945" cy="183258"/>
                </a:xfrm>
                <a:prstGeom prst="rect">
                  <a:avLst/>
                </a:prstGeom>
              </p:spPr>
            </p:pic>
            <p:pic>
              <p:nvPicPr>
                <p:cNvPr id="106" name="圖片 6">
                  <a:extLst>
                    <a:ext uri="{FF2B5EF4-FFF2-40B4-BE49-F238E27FC236}">
                      <a16:creationId xmlns:a16="http://schemas.microsoft.com/office/drawing/2014/main" id="{163689F3-7EDB-40B5-AA97-5AC9952962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8178445" y="3581538"/>
                  <a:ext cx="405775" cy="215243"/>
                </a:xfrm>
                <a:prstGeom prst="rect">
                  <a:avLst/>
                </a:prstGeom>
              </p:spPr>
            </p:pic>
          </p:grpSp>
        </p:grp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63CFB0CA-D1F1-4AB9-8608-C5C874AB77CF}"/>
                </a:ext>
              </a:extLst>
            </p:cNvPr>
            <p:cNvSpPr/>
            <p:nvPr/>
          </p:nvSpPr>
          <p:spPr>
            <a:xfrm>
              <a:off x="6780769" y="3568608"/>
              <a:ext cx="944916" cy="43891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altLang="zh-CN" sz="1020" dirty="0"/>
                <a:t>Loopback 4</a:t>
              </a:r>
            </a:p>
            <a:p>
              <a:r>
                <a:rPr lang="en-US" altLang="zh-CN" sz="1020" dirty="0"/>
                <a:t>Node.js</a:t>
              </a:r>
              <a:endParaRPr lang="zh-CN" altLang="en-US" sz="1020" dirty="0"/>
            </a:p>
          </p:txBody>
        </p: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6EFE9AE4-6A9F-402E-B782-0F8138C1A470}"/>
                </a:ext>
              </a:extLst>
            </p:cNvPr>
            <p:cNvSpPr/>
            <p:nvPr/>
          </p:nvSpPr>
          <p:spPr bwMode="auto">
            <a:xfrm>
              <a:off x="7983187" y="3092745"/>
              <a:ext cx="877518" cy="2860924"/>
            </a:xfrm>
            <a:prstGeom prst="rect">
              <a:avLst/>
            </a:prstGeom>
            <a:noFill/>
            <a:ln w="19050" cap="flat" cmpd="sng" algn="ctr">
              <a:solidFill>
                <a:srgbClr val="609CA6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95" tIns="46648" rIns="93295" bIns="46648" numCol="1" rtlCol="0" anchor="ctr" anchorCtr="0" compatLnSpc="1">
              <a:prstTxWarp prst="textNoShape">
                <a:avLst/>
              </a:prstTxWarp>
            </a:bodyPr>
            <a:lstStyle/>
            <a:p>
              <a:pPr marL="349859" indent="-349859" algn="ctr" defTabSz="932958" eaLnBrk="0" fontAlgn="auto" hangingPunct="0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kumimoji="0" lang="zh-TW" altLang="en-US" sz="1428" b="1" kern="0" dirty="0">
                <a:solidFill>
                  <a:srgbClr val="000000"/>
                </a:solidFill>
                <a:latin typeface="Arial"/>
                <a:ea typeface="新細明體"/>
              </a:endParaRP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02421A0D-6CE1-41C1-9F8D-9B1193C9DCF6}"/>
                </a:ext>
              </a:extLst>
            </p:cNvPr>
            <p:cNvSpPr/>
            <p:nvPr/>
          </p:nvSpPr>
          <p:spPr bwMode="auto">
            <a:xfrm>
              <a:off x="7984654" y="2363020"/>
              <a:ext cx="876053" cy="675997"/>
            </a:xfrm>
            <a:prstGeom prst="rect">
              <a:avLst/>
            </a:prstGeom>
            <a:solidFill>
              <a:srgbClr val="00536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127000">
                <a:srgbClr val="609CA6">
                  <a:lumMod val="40000"/>
                  <a:lumOff val="60000"/>
                  <a:alpha val="40000"/>
                </a:srgb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3295" tIns="46648" rIns="93295" bIns="4664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958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TW" sz="1224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Other System</a:t>
              </a:r>
            </a:p>
          </p:txBody>
        </p:sp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C3A2A3C5-2590-4CA7-8659-0360C8838B79}"/>
                </a:ext>
              </a:extLst>
            </p:cNvPr>
            <p:cNvSpPr/>
            <p:nvPr/>
          </p:nvSpPr>
          <p:spPr bwMode="auto">
            <a:xfrm>
              <a:off x="152400" y="765629"/>
              <a:ext cx="890131" cy="709805"/>
            </a:xfrm>
            <a:prstGeom prst="rect">
              <a:avLst/>
            </a:prstGeom>
            <a:solidFill>
              <a:srgbClr val="00536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127000">
                <a:srgbClr val="609CA6">
                  <a:lumMod val="40000"/>
                  <a:lumOff val="60000"/>
                  <a:alpha val="40000"/>
                </a:srgb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3295" tIns="46648" rIns="93295" bIns="4664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958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TW" sz="1224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User </a:t>
              </a:r>
            </a:p>
            <a:p>
              <a:pPr algn="ctr" defTabSz="932958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TW" sz="1224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Layer</a:t>
              </a:r>
            </a:p>
          </p:txBody>
        </p:sp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89F1F26D-A613-4649-9F89-626EF17D2160}"/>
                </a:ext>
              </a:extLst>
            </p:cNvPr>
            <p:cNvSpPr/>
            <p:nvPr/>
          </p:nvSpPr>
          <p:spPr bwMode="auto">
            <a:xfrm>
              <a:off x="152400" y="4296257"/>
              <a:ext cx="890131" cy="711173"/>
            </a:xfrm>
            <a:prstGeom prst="rect">
              <a:avLst/>
            </a:prstGeom>
            <a:solidFill>
              <a:srgbClr val="00536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127000">
                <a:srgbClr val="609CA6">
                  <a:lumMod val="40000"/>
                  <a:lumOff val="60000"/>
                  <a:alpha val="40000"/>
                </a:srgb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3295" tIns="46648" rIns="93295" bIns="4664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958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TW" sz="1224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Data Layer</a:t>
              </a:r>
            </a:p>
          </p:txBody>
        </p:sp>
        <p:sp>
          <p:nvSpPr>
            <p:cNvPr id="51" name="文本框 283">
              <a:extLst>
                <a:ext uri="{FF2B5EF4-FFF2-40B4-BE49-F238E27FC236}">
                  <a16:creationId xmlns:a16="http://schemas.microsoft.com/office/drawing/2014/main" id="{566F8310-A084-4AB7-B600-09535794EC0B}"/>
                </a:ext>
              </a:extLst>
            </p:cNvPr>
            <p:cNvSpPr txBox="1"/>
            <p:nvPr/>
          </p:nvSpPr>
          <p:spPr>
            <a:xfrm>
              <a:off x="1104399" y="4296257"/>
              <a:ext cx="91031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0" lang="en-US" altLang="zh-CN" sz="1200" dirty="0"/>
                <a:t>Data Base</a:t>
              </a: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9071DFC6-8483-4894-9A6E-3E090307F7B6}"/>
                </a:ext>
              </a:extLst>
            </p:cNvPr>
            <p:cNvSpPr/>
            <p:nvPr/>
          </p:nvSpPr>
          <p:spPr bwMode="auto">
            <a:xfrm>
              <a:off x="152400" y="1558609"/>
              <a:ext cx="890131" cy="729740"/>
            </a:xfrm>
            <a:prstGeom prst="rect">
              <a:avLst/>
            </a:prstGeom>
            <a:solidFill>
              <a:srgbClr val="00536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127000">
                <a:srgbClr val="609CA6">
                  <a:lumMod val="40000"/>
                  <a:lumOff val="60000"/>
                  <a:alpha val="40000"/>
                </a:srgb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3295" tIns="46648" rIns="93295" bIns="4664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958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TW" sz="1224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Network / firewall</a:t>
              </a:r>
            </a:p>
          </p:txBody>
        </p:sp>
        <p:sp>
          <p:nvSpPr>
            <p:cNvPr id="53" name="圓角矩形 28">
              <a:extLst>
                <a:ext uri="{FF2B5EF4-FFF2-40B4-BE49-F238E27FC236}">
                  <a16:creationId xmlns:a16="http://schemas.microsoft.com/office/drawing/2014/main" id="{67D1B9D3-49C4-4E2C-A8D3-412447FFA8C1}"/>
                </a:ext>
              </a:extLst>
            </p:cNvPr>
            <p:cNvSpPr/>
            <p:nvPr/>
          </p:nvSpPr>
          <p:spPr bwMode="auto">
            <a:xfrm>
              <a:off x="2744982" y="1851180"/>
              <a:ext cx="3443209" cy="282294"/>
            </a:xfrm>
            <a:prstGeom prst="roundRect">
              <a:avLst>
                <a:gd name="adj" fmla="val 5473"/>
              </a:avLst>
            </a:prstGeom>
            <a:solidFill>
              <a:srgbClr val="00B0F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20" tIns="60960" rIns="121920" bIns="6096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kumimoji="0" lang="en-US" altLang="zh-TW" sz="1600" dirty="0">
                  <a:solidFill>
                    <a:schemeClr val="bg1"/>
                  </a:solidFill>
                </a:rPr>
                <a:t>firewall</a:t>
              </a:r>
            </a:p>
          </p:txBody>
        </p:sp>
        <p:pic>
          <p:nvPicPr>
            <p:cNvPr id="54" name="图片 4">
              <a:extLst>
                <a:ext uri="{FF2B5EF4-FFF2-40B4-BE49-F238E27FC236}">
                  <a16:creationId xmlns:a16="http://schemas.microsoft.com/office/drawing/2014/main" id="{65BD9250-D857-4C1D-9EF8-3B147EBE8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195367" y="788959"/>
              <a:ext cx="575071" cy="477789"/>
            </a:xfrm>
            <a:prstGeom prst="rect">
              <a:avLst/>
            </a:prstGeom>
          </p:spPr>
        </p:pic>
        <p:sp>
          <p:nvSpPr>
            <p:cNvPr id="55" name="圓角矩形 28">
              <a:extLst>
                <a:ext uri="{FF2B5EF4-FFF2-40B4-BE49-F238E27FC236}">
                  <a16:creationId xmlns:a16="http://schemas.microsoft.com/office/drawing/2014/main" id="{01197D8E-4922-4C27-96A9-C82788AA573C}"/>
                </a:ext>
              </a:extLst>
            </p:cNvPr>
            <p:cNvSpPr/>
            <p:nvPr/>
          </p:nvSpPr>
          <p:spPr bwMode="auto">
            <a:xfrm>
              <a:off x="2744982" y="1518021"/>
              <a:ext cx="3443209" cy="269253"/>
            </a:xfrm>
            <a:prstGeom prst="roundRect">
              <a:avLst>
                <a:gd name="adj" fmla="val 5473"/>
              </a:avLst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20" tIns="60960" rIns="121920" bIns="6096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kumimoji="0" lang="en-US" altLang="zh-TW" sz="1600" dirty="0">
                  <a:solidFill>
                    <a:schemeClr val="bg1"/>
                  </a:solidFill>
                </a:rPr>
                <a:t>CDN</a:t>
              </a:r>
            </a:p>
          </p:txBody>
        </p:sp>
        <p:pic>
          <p:nvPicPr>
            <p:cNvPr id="56" name="圖片 24">
              <a:extLst>
                <a:ext uri="{FF2B5EF4-FFF2-40B4-BE49-F238E27FC236}">
                  <a16:creationId xmlns:a16="http://schemas.microsoft.com/office/drawing/2014/main" id="{AA4B0014-8CAB-4C9F-81AF-5F737C5441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59005" y="732641"/>
              <a:ext cx="1063286" cy="407323"/>
            </a:xfrm>
            <a:prstGeom prst="rect">
              <a:avLst/>
            </a:prstGeom>
          </p:spPr>
        </p:pic>
        <p:sp>
          <p:nvSpPr>
            <p:cNvPr id="57" name="文字方塊 77">
              <a:extLst>
                <a:ext uri="{FF2B5EF4-FFF2-40B4-BE49-F238E27FC236}">
                  <a16:creationId xmlns:a16="http://schemas.microsoft.com/office/drawing/2014/main" id="{C6E9BB21-2D2B-436E-BF41-E2A89307FF38}"/>
                </a:ext>
              </a:extLst>
            </p:cNvPr>
            <p:cNvSpPr txBox="1"/>
            <p:nvPr/>
          </p:nvSpPr>
          <p:spPr>
            <a:xfrm>
              <a:off x="4770437" y="775422"/>
              <a:ext cx="121920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TW"/>
              </a:defPPr>
              <a:lvl1pPr>
                <a:defRPr sz="1200" b="1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defRPr>
              </a:lvl1pPr>
            </a:lstStyle>
            <a:p>
              <a:r>
                <a:rPr lang="en-US" altLang="zh-CN" b="0" dirty="0"/>
                <a:t>Authorized repair center</a:t>
              </a:r>
            </a:p>
            <a:p>
              <a:r>
                <a:rPr lang="en-US" altLang="zh-TW" dirty="0"/>
                <a:t>User</a:t>
              </a:r>
              <a:endParaRPr lang="pt-BR" altLang="zh-TW" dirty="0"/>
            </a:p>
            <a:p>
              <a:endParaRPr lang="zh-TW" altLang="en-US" dirty="0"/>
            </a:p>
          </p:txBody>
        </p:sp>
        <p:sp>
          <p:nvSpPr>
            <p:cNvPr id="58" name="文字方塊 77">
              <a:extLst>
                <a:ext uri="{FF2B5EF4-FFF2-40B4-BE49-F238E27FC236}">
                  <a16:creationId xmlns:a16="http://schemas.microsoft.com/office/drawing/2014/main" id="{441DD436-5C9D-468B-9EA6-A3B510003B70}"/>
                </a:ext>
              </a:extLst>
            </p:cNvPr>
            <p:cNvSpPr txBox="1"/>
            <p:nvPr/>
          </p:nvSpPr>
          <p:spPr>
            <a:xfrm>
              <a:off x="3082122" y="1057337"/>
              <a:ext cx="1121188" cy="3657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TW"/>
              </a:defPPr>
              <a:lvl1pPr>
                <a:defRPr sz="1200" b="1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defRPr>
              </a:lvl1pPr>
            </a:lstStyle>
            <a:p>
              <a:r>
                <a:rPr lang="en-US" altLang="zh-TW" sz="1600" dirty="0"/>
                <a:t>Browser</a:t>
              </a:r>
              <a:endParaRPr lang="zh-TW" altLang="en-US" sz="1600" dirty="0"/>
            </a:p>
          </p:txBody>
        </p:sp>
        <p:grpSp>
          <p:nvGrpSpPr>
            <p:cNvPr id="91" name="组合 125">
              <a:extLst>
                <a:ext uri="{FF2B5EF4-FFF2-40B4-BE49-F238E27FC236}">
                  <a16:creationId xmlns:a16="http://schemas.microsoft.com/office/drawing/2014/main" id="{807F4490-CBF8-4477-B802-3F151FCF7F6B}"/>
                </a:ext>
              </a:extLst>
            </p:cNvPr>
            <p:cNvGrpSpPr/>
            <p:nvPr/>
          </p:nvGrpSpPr>
          <p:grpSpPr>
            <a:xfrm>
              <a:off x="2394825" y="5173818"/>
              <a:ext cx="2271162" cy="659093"/>
              <a:chOff x="1520919" y="3026873"/>
              <a:chExt cx="2225957" cy="645972"/>
            </a:xfrm>
          </p:grpSpPr>
          <p:sp>
            <p:nvSpPr>
              <p:cNvPr id="93" name="文字方塊 262">
                <a:extLst>
                  <a:ext uri="{FF2B5EF4-FFF2-40B4-BE49-F238E27FC236}">
                    <a16:creationId xmlns:a16="http://schemas.microsoft.com/office/drawing/2014/main" id="{99B7D1CE-E648-4C38-AE83-C798256B5DA9}"/>
                  </a:ext>
                </a:extLst>
              </p:cNvPr>
              <p:cNvSpPr txBox="1"/>
              <p:nvPr/>
            </p:nvSpPr>
            <p:spPr>
              <a:xfrm>
                <a:off x="2987014" y="3026873"/>
                <a:ext cx="759862" cy="2607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32958">
                  <a:defRPr/>
                </a:pPr>
                <a:r>
                  <a:rPr lang="en-US" altLang="zh-TW" sz="1000" b="1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ecurity</a:t>
                </a:r>
                <a:endParaRPr lang="zh-TW" altLang="en-US" sz="1000" b="1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grpSp>
            <p:nvGrpSpPr>
              <p:cNvPr id="94" name="组合 130">
                <a:extLst>
                  <a:ext uri="{FF2B5EF4-FFF2-40B4-BE49-F238E27FC236}">
                    <a16:creationId xmlns:a16="http://schemas.microsoft.com/office/drawing/2014/main" id="{0163DB68-184E-4A10-9224-92781CFF15F0}"/>
                  </a:ext>
                </a:extLst>
              </p:cNvPr>
              <p:cNvGrpSpPr/>
              <p:nvPr/>
            </p:nvGrpSpPr>
            <p:grpSpPr>
              <a:xfrm>
                <a:off x="1520919" y="3325968"/>
                <a:ext cx="2167691" cy="346877"/>
                <a:chOff x="1520919" y="3325968"/>
                <a:chExt cx="2167691" cy="346877"/>
              </a:xfrm>
            </p:grpSpPr>
            <p:sp>
              <p:nvSpPr>
                <p:cNvPr id="95" name="矩形 94">
                  <a:extLst>
                    <a:ext uri="{FF2B5EF4-FFF2-40B4-BE49-F238E27FC236}">
                      <a16:creationId xmlns:a16="http://schemas.microsoft.com/office/drawing/2014/main" id="{2053F6D2-1EBD-41F5-940E-50598CA92538}"/>
                    </a:ext>
                  </a:extLst>
                </p:cNvPr>
                <p:cNvSpPr/>
                <p:nvPr/>
              </p:nvSpPr>
              <p:spPr bwMode="auto">
                <a:xfrm>
                  <a:off x="3022641" y="3325968"/>
                  <a:ext cx="665969" cy="346877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square" lIns="93295" tIns="46648" rIns="93295" bIns="4664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32958" eaLnBrk="0" hangingPunct="0">
                    <a:defRPr/>
                  </a:pPr>
                  <a:endParaRPr kumimoji="0" lang="zh-TW" altLang="en-US" sz="1837">
                    <a:solidFill>
                      <a:srgbClr val="000000"/>
                    </a:solidFill>
                  </a:endParaRPr>
                </a:p>
              </p:txBody>
            </p:sp>
            <p:pic>
              <p:nvPicPr>
                <p:cNvPr id="96" name="圖片 264">
                  <a:extLst>
                    <a:ext uri="{FF2B5EF4-FFF2-40B4-BE49-F238E27FC236}">
                      <a16:creationId xmlns:a16="http://schemas.microsoft.com/office/drawing/2014/main" id="{4065F031-BF26-4B1D-B48B-7A5C6C8E916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20919" y="3518253"/>
                  <a:ext cx="615055" cy="133837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61" name="组合 169">
              <a:extLst>
                <a:ext uri="{FF2B5EF4-FFF2-40B4-BE49-F238E27FC236}">
                  <a16:creationId xmlns:a16="http://schemas.microsoft.com/office/drawing/2014/main" id="{F433FE9B-452E-49F7-ACFA-7AA93B576E9D}"/>
                </a:ext>
              </a:extLst>
            </p:cNvPr>
            <p:cNvGrpSpPr/>
            <p:nvPr/>
          </p:nvGrpSpPr>
          <p:grpSpPr>
            <a:xfrm>
              <a:off x="8033911" y="3938969"/>
              <a:ext cx="802814" cy="658586"/>
              <a:chOff x="2623919" y="5140653"/>
              <a:chExt cx="786832" cy="645474"/>
            </a:xfrm>
          </p:grpSpPr>
          <p:sp>
            <p:nvSpPr>
              <p:cNvPr id="84" name="矩形 83">
                <a:extLst>
                  <a:ext uri="{FF2B5EF4-FFF2-40B4-BE49-F238E27FC236}">
                    <a16:creationId xmlns:a16="http://schemas.microsoft.com/office/drawing/2014/main" id="{74610CCE-BCB5-4D04-88F8-E30CA2FCB5EB}"/>
                  </a:ext>
                </a:extLst>
              </p:cNvPr>
              <p:cNvSpPr/>
              <p:nvPr/>
            </p:nvSpPr>
            <p:spPr bwMode="auto">
              <a:xfrm>
                <a:off x="2623919" y="5400069"/>
                <a:ext cx="786832" cy="386058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297" tIns="46649" rIns="93297" bIns="46649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/>
                <a:r>
                  <a:rPr lang="en-US" altLang="zh-CN" sz="1020" b="1" kern="0" dirty="0">
                    <a:solidFill>
                      <a:srgbClr val="185361">
                        <a:lumMod val="75000"/>
                      </a:srgb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CPLEX</a:t>
                </a:r>
              </a:p>
              <a:p>
                <a:pPr algn="ctr" eaLnBrk="0" hangingPunct="0"/>
                <a:r>
                  <a:rPr lang="en-US" altLang="zh-CN" sz="1020" b="1" kern="0" dirty="0">
                    <a:solidFill>
                      <a:srgbClr val="185361">
                        <a:lumMod val="75000"/>
                      </a:srgb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DAT</a:t>
                </a:r>
              </a:p>
            </p:txBody>
          </p:sp>
          <p:pic>
            <p:nvPicPr>
              <p:cNvPr id="85" name="圖片 7">
                <a:extLst>
                  <a:ext uri="{FF2B5EF4-FFF2-40B4-BE49-F238E27FC236}">
                    <a16:creationId xmlns:a16="http://schemas.microsoft.com/office/drawing/2014/main" id="{ABD1091D-B98C-4370-8DA5-C13C558F46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853413" y="5140653"/>
                <a:ext cx="304903" cy="308230"/>
              </a:xfrm>
              <a:prstGeom prst="rect">
                <a:avLst/>
              </a:prstGeom>
            </p:spPr>
          </p:pic>
        </p:grpSp>
        <p:pic>
          <p:nvPicPr>
            <p:cNvPr id="63" name="图片 1">
              <a:extLst>
                <a:ext uri="{FF2B5EF4-FFF2-40B4-BE49-F238E27FC236}">
                  <a16:creationId xmlns:a16="http://schemas.microsoft.com/office/drawing/2014/main" id="{35F66068-B2F8-49A8-8621-7B590F4078D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835019" y="5212447"/>
              <a:ext cx="764779" cy="163153"/>
            </a:xfrm>
            <a:prstGeom prst="rect">
              <a:avLst/>
            </a:prstGeom>
          </p:spPr>
        </p:pic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E608B07C-5A60-4CDC-940A-49AE3B38781C}"/>
                </a:ext>
              </a:extLst>
            </p:cNvPr>
            <p:cNvSpPr/>
            <p:nvPr/>
          </p:nvSpPr>
          <p:spPr bwMode="auto">
            <a:xfrm>
              <a:off x="1109777" y="6045427"/>
              <a:ext cx="6790664" cy="5077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solidFill>
                <a:srgbClr val="609CA6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95" tIns="46648" rIns="93295" bIns="46648" numCol="1" rtlCol="0" anchor="ctr" anchorCtr="0" compatLnSpc="1">
              <a:prstTxWarp prst="textNoShape">
                <a:avLst/>
              </a:prstTxWarp>
            </a:bodyPr>
            <a:lstStyle/>
            <a:p>
              <a:pPr marL="349859" indent="-349859" algn="ctr" defTabSz="932958" eaLnBrk="0" fontAlgn="auto" hangingPunct="0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kumimoji="0" lang="zh-TW" altLang="en-US" sz="1428" b="1" kern="0" dirty="0">
                <a:solidFill>
                  <a:srgbClr val="000000"/>
                </a:solidFill>
                <a:latin typeface="Arial"/>
                <a:ea typeface="新細明體"/>
              </a:endParaRPr>
            </a:p>
          </p:txBody>
        </p:sp>
        <p:pic>
          <p:nvPicPr>
            <p:cNvPr id="65" name="Picture 100" descr="Related image">
              <a:extLst>
                <a:ext uri="{FF2B5EF4-FFF2-40B4-BE49-F238E27FC236}">
                  <a16:creationId xmlns:a16="http://schemas.microsoft.com/office/drawing/2014/main" id="{E3E04312-DA4D-4188-A561-6498C289D9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93491" y="6234981"/>
              <a:ext cx="276744" cy="2767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6" name="Picture 110" descr="Image result for memory icon">
              <a:extLst>
                <a:ext uri="{FF2B5EF4-FFF2-40B4-BE49-F238E27FC236}">
                  <a16:creationId xmlns:a16="http://schemas.microsoft.com/office/drawing/2014/main" id="{4E484FA4-0094-4FA6-B5EC-3119837F423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62" b="20963"/>
            <a:stretch/>
          </p:blipFill>
          <p:spPr bwMode="auto">
            <a:xfrm>
              <a:off x="4125617" y="6273405"/>
              <a:ext cx="401385" cy="2383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7" name="矩形 66">
              <a:extLst>
                <a:ext uri="{FF2B5EF4-FFF2-40B4-BE49-F238E27FC236}">
                  <a16:creationId xmlns:a16="http://schemas.microsoft.com/office/drawing/2014/main" id="{95C921E0-72AB-4C56-A9E0-702206F08238}"/>
                </a:ext>
              </a:extLst>
            </p:cNvPr>
            <p:cNvSpPr/>
            <p:nvPr/>
          </p:nvSpPr>
          <p:spPr>
            <a:xfrm>
              <a:off x="3586097" y="6005489"/>
              <a:ext cx="1099981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32962" eaLnBrk="0" hangingPunct="0"/>
              <a:r>
                <a:rPr kumimoji="0" lang="en-US" altLang="zh-CN" sz="1100" dirty="0"/>
                <a:t>i4.0 Armstrong</a:t>
              </a:r>
              <a:endParaRPr kumimoji="0" lang="zh-CN" altLang="en-US" sz="1100" dirty="0"/>
            </a:p>
          </p:txBody>
        </p:sp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5A10542A-6B17-43FD-8A81-E184066D2C8F}"/>
                </a:ext>
              </a:extLst>
            </p:cNvPr>
            <p:cNvSpPr/>
            <p:nvPr/>
          </p:nvSpPr>
          <p:spPr bwMode="auto">
            <a:xfrm>
              <a:off x="3851749" y="3341940"/>
              <a:ext cx="996384" cy="298571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9525" cap="flat" cmpd="sng" algn="ctr">
              <a:solidFill>
                <a:srgbClr val="1C6D4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32962" eaLnBrk="0" hangingPunct="0"/>
              <a:r>
                <a:rPr kumimoji="0" lang="zh-TW" altLang="en-US" sz="900" dirty="0">
                  <a:solidFill>
                    <a:schemeClr val="bg1"/>
                  </a:solidFill>
                </a:rPr>
                <a:t>系統</a:t>
              </a:r>
              <a:r>
                <a:rPr kumimoji="0" lang="en-US" altLang="zh-TW" sz="900" dirty="0">
                  <a:solidFill>
                    <a:schemeClr val="bg1"/>
                  </a:solidFill>
                </a:rPr>
                <a:t>API</a:t>
              </a:r>
              <a:endParaRPr kumimoji="0" lang="en-US" altLang="zh-CN" sz="900" dirty="0">
                <a:solidFill>
                  <a:schemeClr val="bg1"/>
                </a:solidFill>
              </a:endParaRPr>
            </a:p>
          </p:txBody>
        </p:sp>
        <p:sp>
          <p:nvSpPr>
            <p:cNvPr id="69" name="文本框 193">
              <a:extLst>
                <a:ext uri="{FF2B5EF4-FFF2-40B4-BE49-F238E27FC236}">
                  <a16:creationId xmlns:a16="http://schemas.microsoft.com/office/drawing/2014/main" id="{C0EE59F6-D270-47B0-B2C5-CE60E50462A8}"/>
                </a:ext>
              </a:extLst>
            </p:cNvPr>
            <p:cNvSpPr txBox="1"/>
            <p:nvPr/>
          </p:nvSpPr>
          <p:spPr>
            <a:xfrm>
              <a:off x="5063916" y="3810534"/>
              <a:ext cx="1331094" cy="239583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solidFill>
                <a:srgbClr val="1C6D4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297" tIns="46649" rIns="93297" bIns="46649" numCol="1" rtlCol="0" anchor="t" anchorCtr="0" compatLnSpc="1">
              <a:prstTxWarp prst="textNoShape">
                <a:avLst/>
              </a:prstTxWarp>
            </a:bodyPr>
            <a:lstStyle>
              <a:defPPr>
                <a:defRPr lang="zh-TW"/>
              </a:defPPr>
              <a:lvl1pPr algn="ctr" eaLnBrk="0" hangingPunct="0">
                <a:defRPr kumimoji="0" sz="1020">
                  <a:solidFill>
                    <a:schemeClr val="bg1"/>
                  </a:solidFill>
                </a:defRPr>
              </a:lvl1pPr>
            </a:lstStyle>
            <a:p>
              <a:r>
                <a:rPr lang="zh-TW" altLang="en-US" sz="900" dirty="0"/>
                <a:t>貨櫃貨物分佈</a:t>
              </a:r>
              <a:r>
                <a:rPr lang="en-US" altLang="zh-CN" sz="900" dirty="0"/>
                <a:t>API</a:t>
              </a:r>
              <a:endParaRPr lang="zh-CN" altLang="en-US" sz="900" dirty="0"/>
            </a:p>
          </p:txBody>
        </p:sp>
        <p:cxnSp>
          <p:nvCxnSpPr>
            <p:cNvPr id="71" name="肘形连接符 204">
              <a:extLst>
                <a:ext uri="{FF2B5EF4-FFF2-40B4-BE49-F238E27FC236}">
                  <a16:creationId xmlns:a16="http://schemas.microsoft.com/office/drawing/2014/main" id="{08E58D36-1DBF-4524-B123-B6014B5F9AE3}"/>
                </a:ext>
              </a:extLst>
            </p:cNvPr>
            <p:cNvCxnSpPr>
              <a:cxnSpLocks/>
              <a:stCxn id="85" idx="1"/>
              <a:endCxn id="78" idx="2"/>
            </p:cNvCxnSpPr>
            <p:nvPr/>
          </p:nvCxnSpPr>
          <p:spPr bwMode="auto">
            <a:xfrm rot="10800000">
              <a:off x="4277714" y="4041973"/>
              <a:ext cx="3990354" cy="54241"/>
            </a:xfrm>
            <a:prstGeom prst="bentConnector2">
              <a:avLst/>
            </a:prstGeom>
            <a:solidFill>
              <a:schemeClr val="accent1"/>
            </a:solidFill>
            <a:ln w="19050" cap="flat" cmpd="sng" algn="ctr">
              <a:solidFill>
                <a:srgbClr val="00B050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</p:cxnSp>
        <p:cxnSp>
          <p:nvCxnSpPr>
            <p:cNvPr id="72" name="肘形连接符 239">
              <a:extLst>
                <a:ext uri="{FF2B5EF4-FFF2-40B4-BE49-F238E27FC236}">
                  <a16:creationId xmlns:a16="http://schemas.microsoft.com/office/drawing/2014/main" id="{21702B1B-BCBB-45E5-A39D-FFA6A0CED007}"/>
                </a:ext>
              </a:extLst>
            </p:cNvPr>
            <p:cNvCxnSpPr>
              <a:cxnSpLocks/>
              <a:stCxn id="69" idx="2"/>
              <a:endCxn id="112" idx="1"/>
            </p:cNvCxnSpPr>
            <p:nvPr/>
          </p:nvCxnSpPr>
          <p:spPr bwMode="auto">
            <a:xfrm rot="16200000" flipH="1">
              <a:off x="6655682" y="3123896"/>
              <a:ext cx="685279" cy="2537717"/>
            </a:xfrm>
            <a:prstGeom prst="bentConnector2">
              <a:avLst/>
            </a:prstGeom>
            <a:solidFill>
              <a:schemeClr val="accent1"/>
            </a:solidFill>
            <a:ln w="19050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pic>
          <p:nvPicPr>
            <p:cNvPr id="74" name="圖片 5">
              <a:extLst>
                <a:ext uri="{FF2B5EF4-FFF2-40B4-BE49-F238E27FC236}">
                  <a16:creationId xmlns:a16="http://schemas.microsoft.com/office/drawing/2014/main" id="{DA55FC56-303D-43B9-984E-9994EF887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849955" y="6090109"/>
              <a:ext cx="551968" cy="413977"/>
            </a:xfrm>
            <a:prstGeom prst="rect">
              <a:avLst/>
            </a:prstGeom>
          </p:spPr>
        </p:pic>
        <p:sp>
          <p:nvSpPr>
            <p:cNvPr id="77" name="灯片编号占位符 5">
              <a:extLst>
                <a:ext uri="{FF2B5EF4-FFF2-40B4-BE49-F238E27FC236}">
                  <a16:creationId xmlns:a16="http://schemas.microsoft.com/office/drawing/2014/main" id="{A9525C74-E13C-4A2E-88EC-BBD4BE03C20C}"/>
                </a:ext>
              </a:extLst>
            </p:cNvPr>
            <p:cNvSpPr txBox="1">
              <a:spLocks/>
            </p:cNvSpPr>
            <p:nvPr/>
          </p:nvSpPr>
          <p:spPr>
            <a:xfrm>
              <a:off x="5683809" y="6477000"/>
              <a:ext cx="711200" cy="381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TW"/>
              </a:defPPr>
              <a:lvl1pPr algn="ctr" eaLnBrk="1" hangingPunct="1">
                <a:defRPr sz="1000">
                  <a:solidFill>
                    <a:schemeClr val="tx1">
                      <a:lumMod val="65000"/>
                      <a:lumOff val="35000"/>
                    </a:schemeClr>
                  </a:solidFill>
                </a:defRPr>
              </a:lvl1pPr>
            </a:lstStyle>
            <a:p>
              <a:fld id="{7A6790E0-BEF4-4832-A75A-9EE1100ED3A6}" type="slidenum">
                <a:rPr lang="en-US" altLang="zh-TW"/>
                <a:pPr/>
                <a:t>1</a:t>
              </a:fld>
              <a:endParaRPr lang="en-US" altLang="zh-TW" dirty="0"/>
            </a:p>
          </p:txBody>
        </p:sp>
        <p:sp>
          <p:nvSpPr>
            <p:cNvPr id="78" name="文本框 141">
              <a:extLst>
                <a:ext uri="{FF2B5EF4-FFF2-40B4-BE49-F238E27FC236}">
                  <a16:creationId xmlns:a16="http://schemas.microsoft.com/office/drawing/2014/main" id="{27C3B394-9931-4D44-B864-8A0F098F0FB9}"/>
                </a:ext>
              </a:extLst>
            </p:cNvPr>
            <p:cNvSpPr txBox="1"/>
            <p:nvPr/>
          </p:nvSpPr>
          <p:spPr>
            <a:xfrm>
              <a:off x="3572545" y="3802390"/>
              <a:ext cx="1410336" cy="239583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solidFill>
                <a:srgbClr val="1C6D4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297" tIns="46649" rIns="93297" bIns="46649" numCol="1" rtlCol="0" anchor="t" anchorCtr="0" compatLnSpc="1">
              <a:prstTxWarp prst="textNoShape">
                <a:avLst/>
              </a:prstTxWarp>
            </a:bodyPr>
            <a:lstStyle>
              <a:defPPr>
                <a:defRPr lang="zh-TW"/>
              </a:defPPr>
              <a:lvl1pPr algn="ctr" eaLnBrk="0" hangingPunct="0">
                <a:defRPr kumimoji="0" sz="1020">
                  <a:solidFill>
                    <a:schemeClr val="bg1"/>
                  </a:solidFill>
                </a:defRPr>
              </a:lvl1pPr>
            </a:lstStyle>
            <a:p>
              <a:r>
                <a:rPr lang="zh-CN" altLang="en-US" sz="900" dirty="0">
                  <a:latin typeface="+mj-ea"/>
                  <a:ea typeface="+mj-ea"/>
                </a:rPr>
                <a:t>材積</a:t>
              </a:r>
              <a:r>
                <a:rPr lang="zh-TW" altLang="en-US" sz="900" dirty="0">
                  <a:latin typeface="+mj-ea"/>
                  <a:ea typeface="+mj-ea"/>
                </a:rPr>
                <a:t>資料上傳</a:t>
              </a:r>
              <a:r>
                <a:rPr lang="en-US" altLang="zh-CN" sz="900" dirty="0"/>
                <a:t>API</a:t>
              </a:r>
              <a:endParaRPr lang="zh-CN" altLang="en-US" sz="900" dirty="0"/>
            </a:p>
          </p:txBody>
        </p:sp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2C70D4E2-5B9B-4D2F-A19C-03A93A150514}"/>
                </a:ext>
              </a:extLst>
            </p:cNvPr>
            <p:cNvSpPr/>
            <p:nvPr/>
          </p:nvSpPr>
          <p:spPr bwMode="auto">
            <a:xfrm>
              <a:off x="3890694" y="5457490"/>
              <a:ext cx="636307" cy="36715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11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新細明體" charset="-120"/>
                </a:rPr>
                <a:t>IDM</a:t>
              </a:r>
              <a:endParaRPr kumimoji="0" lang="zh-CN" altLang="en-US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sp>
          <p:nvSpPr>
            <p:cNvPr id="110" name="文本框 16">
              <a:extLst>
                <a:ext uri="{FF2B5EF4-FFF2-40B4-BE49-F238E27FC236}">
                  <a16:creationId xmlns:a16="http://schemas.microsoft.com/office/drawing/2014/main" id="{0D3A3A9A-8C36-4A7C-B3E2-B4B9A5133557}"/>
                </a:ext>
              </a:extLst>
            </p:cNvPr>
            <p:cNvSpPr txBox="1"/>
            <p:nvPr/>
          </p:nvSpPr>
          <p:spPr>
            <a:xfrm>
              <a:off x="3014528" y="2592393"/>
              <a:ext cx="1256335" cy="2660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eaLnBrk="0" hangingPunct="0"/>
              <a:r>
                <a:rPr kumimoji="0" lang="zh-TW" altLang="en-US" sz="1000" b="1" dirty="0">
                  <a:solidFill>
                    <a:schemeClr val="accent1">
                      <a:lumMod val="50000"/>
                    </a:schemeClr>
                  </a:solidFill>
                  <a:latin typeface="+mn-ea"/>
                  <a:ea typeface="+mn-ea"/>
                </a:rPr>
                <a:t>模擬與實際比對表</a:t>
              </a:r>
              <a:endParaRPr lang="zh-CN" altLang="en-US" sz="1000" b="1" dirty="0">
                <a:solidFill>
                  <a:schemeClr val="accent1">
                    <a:lumMod val="50000"/>
                  </a:schemeClr>
                </a:solidFill>
                <a:latin typeface="+mn-ea"/>
                <a:ea typeface="+mn-ea"/>
              </a:endParaRPr>
            </a:p>
          </p:txBody>
        </p:sp>
      </p:grpSp>
      <p:sp>
        <p:nvSpPr>
          <p:cNvPr id="113" name="標題 2">
            <a:extLst>
              <a:ext uri="{FF2B5EF4-FFF2-40B4-BE49-F238E27FC236}">
                <a16:creationId xmlns:a16="http://schemas.microsoft.com/office/drawing/2014/main" id="{D3655271-22EC-424C-ACE3-14F0BD994EA1}"/>
              </a:ext>
            </a:extLst>
          </p:cNvPr>
          <p:cNvSpPr txBox="1">
            <a:spLocks/>
          </p:cNvSpPr>
          <p:nvPr/>
        </p:nvSpPr>
        <p:spPr bwMode="auto">
          <a:xfrm>
            <a:off x="1039494" y="470570"/>
            <a:ext cx="6300788" cy="627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800" b="1" baseline="0">
                <a:solidFill>
                  <a:srgbClr val="333333"/>
                </a:solidFill>
                <a:latin typeface="+mj-lt"/>
                <a:ea typeface="微軟正黑體" panose="020B0604030504040204" pitchFamily="34" charset="-120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267" b="1">
                <a:solidFill>
                  <a:srgbClr val="333333"/>
                </a:solidFill>
                <a:latin typeface="Arial" charset="0"/>
                <a:ea typeface="新細明體" charset="-12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267" b="1">
                <a:solidFill>
                  <a:srgbClr val="333333"/>
                </a:solidFill>
                <a:latin typeface="Arial" charset="0"/>
                <a:ea typeface="新細明體" charset="-12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267" b="1">
                <a:solidFill>
                  <a:srgbClr val="333333"/>
                </a:solidFill>
                <a:latin typeface="Arial" charset="0"/>
                <a:ea typeface="新細明體" charset="-12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267" b="1">
                <a:solidFill>
                  <a:srgbClr val="333333"/>
                </a:solidFill>
                <a:latin typeface="Arial" charset="0"/>
                <a:ea typeface="新細明體" charset="-12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267">
                <a:solidFill>
                  <a:srgbClr val="333333"/>
                </a:solidFill>
                <a:latin typeface="Arial" charset="0"/>
                <a:ea typeface="新細明體" charset="-12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267">
                <a:solidFill>
                  <a:srgbClr val="333333"/>
                </a:solidFill>
                <a:latin typeface="Arial" charset="0"/>
                <a:ea typeface="新細明體" charset="-12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267">
                <a:solidFill>
                  <a:srgbClr val="333333"/>
                </a:solidFill>
                <a:latin typeface="Arial" charset="0"/>
                <a:ea typeface="新細明體" charset="-12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267">
                <a:solidFill>
                  <a:srgbClr val="333333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lnSpc>
                <a:spcPct val="115000"/>
              </a:lnSpc>
            </a:pPr>
            <a:r>
              <a:rPr lang="zh-TW" altLang="en-US" sz="3200" kern="0" dirty="0">
                <a:latin typeface="微軟正黑體" panose="020B0604030504040204" pitchFamily="34" charset="-120"/>
              </a:rPr>
              <a:t>系統架構</a:t>
            </a:r>
          </a:p>
        </p:txBody>
      </p:sp>
      <p:pic>
        <p:nvPicPr>
          <p:cNvPr id="115" name="圖片 114">
            <a:extLst>
              <a:ext uri="{FF2B5EF4-FFF2-40B4-BE49-F238E27FC236}">
                <a16:creationId xmlns:a16="http://schemas.microsoft.com/office/drawing/2014/main" id="{A6C7A2D3-EC5C-4569-BD20-50F4E017F31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400" y="4327945"/>
            <a:ext cx="820675" cy="718091"/>
          </a:xfrm>
          <a:prstGeom prst="rect">
            <a:avLst/>
          </a:prstGeom>
        </p:spPr>
      </p:pic>
      <p:pic>
        <p:nvPicPr>
          <p:cNvPr id="120" name="圖片 119">
            <a:extLst>
              <a:ext uri="{FF2B5EF4-FFF2-40B4-BE49-F238E27FC236}">
                <a16:creationId xmlns:a16="http://schemas.microsoft.com/office/drawing/2014/main" id="{181ECBBC-418C-45EF-A958-4DD89152E37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089" y="5481124"/>
            <a:ext cx="829361" cy="125043"/>
          </a:xfrm>
          <a:prstGeom prst="rect">
            <a:avLst/>
          </a:prstGeom>
        </p:spPr>
      </p:pic>
      <p:pic>
        <p:nvPicPr>
          <p:cNvPr id="128" name="圖片 127">
            <a:extLst>
              <a:ext uri="{FF2B5EF4-FFF2-40B4-BE49-F238E27FC236}">
                <a16:creationId xmlns:a16="http://schemas.microsoft.com/office/drawing/2014/main" id="{D2E769A3-B88D-4A32-97D6-D8FA86727DCF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801" y="2598772"/>
            <a:ext cx="641986" cy="641986"/>
          </a:xfrm>
          <a:prstGeom prst="rect">
            <a:avLst/>
          </a:prstGeom>
        </p:spPr>
      </p:pic>
      <p:sp>
        <p:nvSpPr>
          <p:cNvPr id="124" name="上下箭头 143">
            <a:extLst>
              <a:ext uri="{FF2B5EF4-FFF2-40B4-BE49-F238E27FC236}">
                <a16:creationId xmlns:a16="http://schemas.microsoft.com/office/drawing/2014/main" id="{91DB60BC-798E-4E6D-A0CE-6803E3A7C730}"/>
              </a:ext>
            </a:extLst>
          </p:cNvPr>
          <p:cNvSpPr/>
          <p:nvPr/>
        </p:nvSpPr>
        <p:spPr>
          <a:xfrm flipH="1">
            <a:off x="6225258" y="3115887"/>
            <a:ext cx="233809" cy="311817"/>
          </a:xfrm>
          <a:prstGeom prst="upDown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kumimoji="0" lang="zh-CN" altLang="en-US" dirty="0" err="1">
              <a:solidFill>
                <a:schemeClr val="tx1"/>
              </a:solidFill>
              <a:latin typeface="Arial" charset="0"/>
              <a:ea typeface="新細明體" charset="-12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373E64B9-DB7A-4F5A-BBC0-5FF273BE0CB7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5537" y="2645750"/>
            <a:ext cx="501666" cy="521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731543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133600" y="5486403"/>
            <a:ext cx="7772400" cy="830997"/>
          </a:xfrm>
        </p:spPr>
        <p:txBody>
          <a:bodyPr/>
          <a:lstStyle/>
          <a:p>
            <a:pPr algn="ctr" eaLnBrk="1" hangingPunct="1"/>
            <a:r>
              <a:rPr lang="en-US" altLang="zh-CN" b="0">
                <a:solidFill>
                  <a:srgbClr val="0000FF"/>
                </a:solidFill>
                <a:latin typeface="Calibri" pitchFamily="34" charset="0"/>
              </a:rPr>
              <a:t>Thank you!</a:t>
            </a:r>
          </a:p>
        </p:txBody>
      </p:sp>
      <p:pic>
        <p:nvPicPr>
          <p:cNvPr id="104451" name="Picture 3" descr="smile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0" y="1676400"/>
            <a:ext cx="4191000" cy="3881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246964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044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44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44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044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chimes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新細明體"/>
        <a:cs typeface=""/>
      </a:majorFont>
      <a:minorFont>
        <a:latin typeface="Arial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新細明體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新細明體" charset="-12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WIV008 template-0120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IV008 template-0120.potx" id="{F40DC6D1-4FF6-4A25-9C2D-8618C81931F3}" vid="{FADC1270-28B0-4B69-94BC-9A7E44A24186}"/>
    </a:ext>
  </a:extLst>
</a:theme>
</file>

<file path=ppt/theme/theme3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文件" ma:contentTypeID="0x010100114A5ECE207F104B8510E2684F3B1A55" ma:contentTypeVersion="0" ma:contentTypeDescription="建立新的文件。" ma:contentTypeScope="" ma:versionID="d867a9224bc5c9a0960210d5ef1d1b7b">
  <xsd:schema xmlns:xsd="http://www.w3.org/2001/XMLSchema" xmlns:p="http://schemas.microsoft.com/office/2006/metadata/properties" targetNamespace="http://schemas.microsoft.com/office/2006/metadata/properties" ma:root="true" ma:fieldsID="b8ca951d90cafeb83d4a03d140f1bad3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內容類型" ma:readOnly="true"/>
        <xsd:element ref="dc:title" minOccurs="0" maxOccurs="1" ma:index="4" ma:displayName="標題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FD3E4BF0-5A5D-419E-8B66-4D252D3306F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E1D3F34-9697-4F45-AC79-D87C5E6391B0}">
  <ds:schemaRefs>
    <ds:schemaRef ds:uri="http://purl.org/dc/dcmitype/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DF32649-3058-4251-91CB-70CCA3B851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rayons</Template>
  <TotalTime>56846</TotalTime>
  <Words>80</Words>
  <Application>Microsoft Office PowerPoint</Application>
  <PresentationFormat>宽屏</PresentationFormat>
  <Paragraphs>36</Paragraphs>
  <Slides>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9" baseType="lpstr">
      <vt:lpstr>微軟正黑體</vt:lpstr>
      <vt:lpstr>新細明體</vt:lpstr>
      <vt:lpstr>Arial</vt:lpstr>
      <vt:lpstr>Calibri</vt:lpstr>
      <vt:lpstr>2_Default Design</vt:lpstr>
      <vt:lpstr>2_WIV008 template-0120</vt:lpstr>
      <vt:lpstr>think-cell Slide</vt:lpstr>
      <vt:lpstr>PowerPoint 演示文稿</vt:lpstr>
      <vt:lpstr>Thank you!</vt:lpstr>
    </vt:vector>
  </TitlesOfParts>
  <Company>pic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erry</dc:creator>
  <cp:lastModifiedBy>趙超奇</cp:lastModifiedBy>
  <cp:revision>459</cp:revision>
  <dcterms:created xsi:type="dcterms:W3CDTF">2008-08-07T15:44:20Z</dcterms:created>
  <dcterms:modified xsi:type="dcterms:W3CDTF">2022-04-07T08:32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4A5ECE207F104B8510E2684F3B1A55</vt:lpwstr>
  </property>
</Properties>
</file>